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0" r:id="rId2"/>
    <p:sldMasterId id="2147483718" r:id="rId3"/>
    <p:sldMasterId id="2147483735" r:id="rId4"/>
  </p:sldMasterIdLst>
  <p:notesMasterIdLst>
    <p:notesMasterId r:id="rId12"/>
  </p:notesMasterIdLst>
  <p:sldIdLst>
    <p:sldId id="257" r:id="rId5"/>
    <p:sldId id="273" r:id="rId6"/>
    <p:sldId id="260" r:id="rId7"/>
    <p:sldId id="5213" r:id="rId8"/>
    <p:sldId id="261" r:id="rId9"/>
    <p:sldId id="5214" r:id="rId10"/>
    <p:sldId id="5215" r:id="rId11"/>
  </p:sldIdLst>
  <p:sldSz cx="12192000" cy="6858000"/>
  <p:notesSz cx="7023100" cy="93091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AF4D7"/>
    <a:srgbClr val="A9B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FE850D5-63FD-4E7E-BD0C-0AA6A3271E92}" v="17" dt="2023-05-11T13:50:04.04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607" autoAdjust="0"/>
    <p:restoredTop sz="94660"/>
  </p:normalViewPr>
  <p:slideViewPr>
    <p:cSldViewPr snapToGrid="0">
      <p:cViewPr varScale="1">
        <p:scale>
          <a:sx n="101" d="100"/>
          <a:sy n="101" d="100"/>
        </p:scale>
        <p:origin x="138" y="6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oeltner, Peter" userId="7dd467e7-c6cd-4e71-8ae6-0c44179464b6" providerId="ADAL" clId="{2FE850D5-63FD-4E7E-BD0C-0AA6A3271E92}"/>
    <pc:docChg chg="undo custSel modSld">
      <pc:chgData name="Moeltner, Peter" userId="7dd467e7-c6cd-4e71-8ae6-0c44179464b6" providerId="ADAL" clId="{2FE850D5-63FD-4E7E-BD0C-0AA6A3271E92}" dt="2023-05-11T13:50:16.259" v="1515" actId="1076"/>
      <pc:docMkLst>
        <pc:docMk/>
      </pc:docMkLst>
      <pc:sldChg chg="modSp mod">
        <pc:chgData name="Moeltner, Peter" userId="7dd467e7-c6cd-4e71-8ae6-0c44179464b6" providerId="ADAL" clId="{2FE850D5-63FD-4E7E-BD0C-0AA6A3271E92}" dt="2023-05-11T13:13:09.487" v="91" actId="2710"/>
        <pc:sldMkLst>
          <pc:docMk/>
          <pc:sldMk cId="2795914287" sldId="257"/>
        </pc:sldMkLst>
        <pc:spChg chg="mod">
          <ac:chgData name="Moeltner, Peter" userId="7dd467e7-c6cd-4e71-8ae6-0c44179464b6" providerId="ADAL" clId="{2FE850D5-63FD-4E7E-BD0C-0AA6A3271E92}" dt="2023-05-11T13:13:09.487" v="91" actId="2710"/>
          <ac:spMkLst>
            <pc:docMk/>
            <pc:sldMk cId="2795914287" sldId="257"/>
            <ac:spMk id="4" creationId="{70B7673E-8139-4704-A800-3BAE1CBEE16D}"/>
          </ac:spMkLst>
        </pc:spChg>
        <pc:spChg chg="mod">
          <ac:chgData name="Moeltner, Peter" userId="7dd467e7-c6cd-4e71-8ae6-0c44179464b6" providerId="ADAL" clId="{2FE850D5-63FD-4E7E-BD0C-0AA6A3271E92}" dt="2023-05-11T13:12:25.775" v="90" actId="20577"/>
          <ac:spMkLst>
            <pc:docMk/>
            <pc:sldMk cId="2795914287" sldId="257"/>
            <ac:spMk id="12" creationId="{7F49A53D-C910-4E20-8A2F-44A6CE7DAFC0}"/>
          </ac:spMkLst>
        </pc:spChg>
      </pc:sldChg>
      <pc:sldChg chg="modSp mod">
        <pc:chgData name="Moeltner, Peter" userId="7dd467e7-c6cd-4e71-8ae6-0c44179464b6" providerId="ADAL" clId="{2FE850D5-63FD-4E7E-BD0C-0AA6A3271E92}" dt="2023-05-11T13:28:33.028" v="912" actId="20577"/>
        <pc:sldMkLst>
          <pc:docMk/>
          <pc:sldMk cId="2585493846" sldId="260"/>
        </pc:sldMkLst>
        <pc:spChg chg="mod">
          <ac:chgData name="Moeltner, Peter" userId="7dd467e7-c6cd-4e71-8ae6-0c44179464b6" providerId="ADAL" clId="{2FE850D5-63FD-4E7E-BD0C-0AA6A3271E92}" dt="2023-05-11T13:22:56.358" v="522" actId="6549"/>
          <ac:spMkLst>
            <pc:docMk/>
            <pc:sldMk cId="2585493846" sldId="260"/>
            <ac:spMk id="2" creationId="{36A0FC8D-A7C5-4A02-828B-7E50ACEFC71D}"/>
          </ac:spMkLst>
        </pc:spChg>
        <pc:spChg chg="mod">
          <ac:chgData name="Moeltner, Peter" userId="7dd467e7-c6cd-4e71-8ae6-0c44179464b6" providerId="ADAL" clId="{2FE850D5-63FD-4E7E-BD0C-0AA6A3271E92}" dt="2023-05-11T13:28:33.028" v="912" actId="20577"/>
          <ac:spMkLst>
            <pc:docMk/>
            <pc:sldMk cId="2585493846" sldId="260"/>
            <ac:spMk id="3" creationId="{6B98881A-61AF-4127-A102-EDDD4E3C68E3}"/>
          </ac:spMkLst>
        </pc:spChg>
      </pc:sldChg>
      <pc:sldChg chg="addSp modSp mod">
        <pc:chgData name="Moeltner, Peter" userId="7dd467e7-c6cd-4e71-8ae6-0c44179464b6" providerId="ADAL" clId="{2FE850D5-63FD-4E7E-BD0C-0AA6A3271E92}" dt="2023-05-11T13:22:09.780" v="468" actId="1076"/>
        <pc:sldMkLst>
          <pc:docMk/>
          <pc:sldMk cId="378897069" sldId="273"/>
        </pc:sldMkLst>
        <pc:spChg chg="mod">
          <ac:chgData name="Moeltner, Peter" userId="7dd467e7-c6cd-4e71-8ae6-0c44179464b6" providerId="ADAL" clId="{2FE850D5-63FD-4E7E-BD0C-0AA6A3271E92}" dt="2023-05-11T13:13:44.399" v="139" actId="20577"/>
          <ac:spMkLst>
            <pc:docMk/>
            <pc:sldMk cId="378897069" sldId="273"/>
            <ac:spMk id="2" creationId="{AE7E0651-62A4-4016-87D1-553A082B7B52}"/>
          </ac:spMkLst>
        </pc:spChg>
        <pc:spChg chg="add mod">
          <ac:chgData name="Moeltner, Peter" userId="7dd467e7-c6cd-4e71-8ae6-0c44179464b6" providerId="ADAL" clId="{2FE850D5-63FD-4E7E-BD0C-0AA6A3271E92}" dt="2023-05-11T13:21:17.629" v="421" actId="1076"/>
          <ac:spMkLst>
            <pc:docMk/>
            <pc:sldMk cId="378897069" sldId="273"/>
            <ac:spMk id="3" creationId="{3E9E780C-55DA-18A6-3652-BA967BCC191B}"/>
          </ac:spMkLst>
        </pc:spChg>
        <pc:spChg chg="add mod">
          <ac:chgData name="Moeltner, Peter" userId="7dd467e7-c6cd-4e71-8ae6-0c44179464b6" providerId="ADAL" clId="{2FE850D5-63FD-4E7E-BD0C-0AA6A3271E92}" dt="2023-05-11T13:21:32.438" v="435" actId="20577"/>
          <ac:spMkLst>
            <pc:docMk/>
            <pc:sldMk cId="378897069" sldId="273"/>
            <ac:spMk id="5" creationId="{76464BC8-10B3-ED7F-0CBD-1288A8FDB5AD}"/>
          </ac:spMkLst>
        </pc:spChg>
        <pc:spChg chg="add mod">
          <ac:chgData name="Moeltner, Peter" userId="7dd467e7-c6cd-4e71-8ae6-0c44179464b6" providerId="ADAL" clId="{2FE850D5-63FD-4E7E-BD0C-0AA6A3271E92}" dt="2023-05-11T13:22:09.780" v="468" actId="1076"/>
          <ac:spMkLst>
            <pc:docMk/>
            <pc:sldMk cId="378897069" sldId="273"/>
            <ac:spMk id="6" creationId="{AAAB2CD7-1D32-CCEA-B9C9-A4488E52C33E}"/>
          </ac:spMkLst>
        </pc:spChg>
        <pc:spChg chg="mod">
          <ac:chgData name="Moeltner, Peter" userId="7dd467e7-c6cd-4e71-8ae6-0c44179464b6" providerId="ADAL" clId="{2FE850D5-63FD-4E7E-BD0C-0AA6A3271E92}" dt="2023-05-11T13:14:31.764" v="180" actId="14100"/>
          <ac:spMkLst>
            <pc:docMk/>
            <pc:sldMk cId="378897069" sldId="273"/>
            <ac:spMk id="12" creationId="{1B147A8C-68B7-DDBB-2D8E-6A42356C0F98}"/>
          </ac:spMkLst>
        </pc:spChg>
        <pc:spChg chg="mod">
          <ac:chgData name="Moeltner, Peter" userId="7dd467e7-c6cd-4e71-8ae6-0c44179464b6" providerId="ADAL" clId="{2FE850D5-63FD-4E7E-BD0C-0AA6A3271E92}" dt="2023-05-11T13:18:41.272" v="316" actId="1035"/>
          <ac:spMkLst>
            <pc:docMk/>
            <pc:sldMk cId="378897069" sldId="273"/>
            <ac:spMk id="13" creationId="{8F988EB9-7384-1450-1C89-3C8F508A3AB0}"/>
          </ac:spMkLst>
        </pc:spChg>
        <pc:spChg chg="mod">
          <ac:chgData name="Moeltner, Peter" userId="7dd467e7-c6cd-4e71-8ae6-0c44179464b6" providerId="ADAL" clId="{2FE850D5-63FD-4E7E-BD0C-0AA6A3271E92}" dt="2023-05-11T13:18:41.272" v="316" actId="1035"/>
          <ac:spMkLst>
            <pc:docMk/>
            <pc:sldMk cId="378897069" sldId="273"/>
            <ac:spMk id="14" creationId="{F8A5D9B8-30A0-E8A4-595F-97A45CE981ED}"/>
          </ac:spMkLst>
        </pc:spChg>
        <pc:picChg chg="mod">
          <ac:chgData name="Moeltner, Peter" userId="7dd467e7-c6cd-4e71-8ae6-0c44179464b6" providerId="ADAL" clId="{2FE850D5-63FD-4E7E-BD0C-0AA6A3271E92}" dt="2023-05-11T13:18:41.272" v="316" actId="1035"/>
          <ac:picMkLst>
            <pc:docMk/>
            <pc:sldMk cId="378897069" sldId="273"/>
            <ac:picMk id="4" creationId="{27390A94-243C-C6E0-9B88-549FE7580CBA}"/>
          </ac:picMkLst>
        </pc:picChg>
        <pc:picChg chg="mod modCrop">
          <ac:chgData name="Moeltner, Peter" userId="7dd467e7-c6cd-4e71-8ae6-0c44179464b6" providerId="ADAL" clId="{2FE850D5-63FD-4E7E-BD0C-0AA6A3271E92}" dt="2023-05-11T13:18:41.272" v="316" actId="1035"/>
          <ac:picMkLst>
            <pc:docMk/>
            <pc:sldMk cId="378897069" sldId="273"/>
            <ac:picMk id="17" creationId="{5EF4A820-A172-4DE9-ACC9-C6BB65FFB138}"/>
          </ac:picMkLst>
        </pc:picChg>
        <pc:picChg chg="mod">
          <ac:chgData name="Moeltner, Peter" userId="7dd467e7-c6cd-4e71-8ae6-0c44179464b6" providerId="ADAL" clId="{2FE850D5-63FD-4E7E-BD0C-0AA6A3271E92}" dt="2023-05-11T13:19:01.447" v="319" actId="1076"/>
          <ac:picMkLst>
            <pc:docMk/>
            <pc:sldMk cId="378897069" sldId="273"/>
            <ac:picMk id="20" creationId="{9D7ED6C7-A115-BE74-8945-B2B7EFC544B8}"/>
          </ac:picMkLst>
        </pc:picChg>
        <pc:picChg chg="mod">
          <ac:chgData name="Moeltner, Peter" userId="7dd467e7-c6cd-4e71-8ae6-0c44179464b6" providerId="ADAL" clId="{2FE850D5-63FD-4E7E-BD0C-0AA6A3271E92}" dt="2023-05-11T13:19:10.118" v="321" actId="14100"/>
          <ac:picMkLst>
            <pc:docMk/>
            <pc:sldMk cId="378897069" sldId="273"/>
            <ac:picMk id="22" creationId="{0A85569C-CA46-CE3F-2658-07B835E4B06F}"/>
          </ac:picMkLst>
        </pc:picChg>
        <pc:picChg chg="mod">
          <ac:chgData name="Moeltner, Peter" userId="7dd467e7-c6cd-4e71-8ae6-0c44179464b6" providerId="ADAL" clId="{2FE850D5-63FD-4E7E-BD0C-0AA6A3271E92}" dt="2023-05-11T13:19:05.510" v="320" actId="14100"/>
          <ac:picMkLst>
            <pc:docMk/>
            <pc:sldMk cId="378897069" sldId="273"/>
            <ac:picMk id="24" creationId="{2040CA13-30BE-EBEA-9FA6-B9C84E0E163B}"/>
          </ac:picMkLst>
        </pc:picChg>
      </pc:sldChg>
      <pc:sldChg chg="modSp mod">
        <pc:chgData name="Moeltner, Peter" userId="7dd467e7-c6cd-4e71-8ae6-0c44179464b6" providerId="ADAL" clId="{2FE850D5-63FD-4E7E-BD0C-0AA6A3271E92}" dt="2023-05-11T13:31:53.427" v="1062" actId="20577"/>
        <pc:sldMkLst>
          <pc:docMk/>
          <pc:sldMk cId="3071297752" sldId="5213"/>
        </pc:sldMkLst>
        <pc:spChg chg="mod">
          <ac:chgData name="Moeltner, Peter" userId="7dd467e7-c6cd-4e71-8ae6-0c44179464b6" providerId="ADAL" clId="{2FE850D5-63FD-4E7E-BD0C-0AA6A3271E92}" dt="2023-05-11T13:28:52.595" v="937" actId="20577"/>
          <ac:spMkLst>
            <pc:docMk/>
            <pc:sldMk cId="3071297752" sldId="5213"/>
            <ac:spMk id="2" creationId="{05181400-23C8-4111-B567-C4898872C7E4}"/>
          </ac:spMkLst>
        </pc:spChg>
        <pc:spChg chg="mod">
          <ac:chgData name="Moeltner, Peter" userId="7dd467e7-c6cd-4e71-8ae6-0c44179464b6" providerId="ADAL" clId="{2FE850D5-63FD-4E7E-BD0C-0AA6A3271E92}" dt="2023-05-11T13:31:53.427" v="1062" actId="20577"/>
          <ac:spMkLst>
            <pc:docMk/>
            <pc:sldMk cId="3071297752" sldId="5213"/>
            <ac:spMk id="3" creationId="{05CCACBB-9031-43CC-BC8F-511E55483BB0}"/>
          </ac:spMkLst>
        </pc:spChg>
      </pc:sldChg>
      <pc:sldChg chg="addSp delSp modSp mod">
        <pc:chgData name="Moeltner, Peter" userId="7dd467e7-c6cd-4e71-8ae6-0c44179464b6" providerId="ADAL" clId="{2FE850D5-63FD-4E7E-BD0C-0AA6A3271E92}" dt="2023-05-11T13:50:16.259" v="1515" actId="1076"/>
        <pc:sldMkLst>
          <pc:docMk/>
          <pc:sldMk cId="2308547377" sldId="5214"/>
        </pc:sldMkLst>
        <pc:spChg chg="add del mod">
          <ac:chgData name="Moeltner, Peter" userId="7dd467e7-c6cd-4e71-8ae6-0c44179464b6" providerId="ADAL" clId="{2FE850D5-63FD-4E7E-BD0C-0AA6A3271E92}" dt="2023-05-11T13:33:08.752" v="1093"/>
          <ac:spMkLst>
            <pc:docMk/>
            <pc:sldMk cId="2308547377" sldId="5214"/>
            <ac:spMk id="2" creationId="{45F32CD1-429F-AFF6-86BA-9BC282804C05}"/>
          </ac:spMkLst>
        </pc:spChg>
        <pc:spChg chg="add mod ord">
          <ac:chgData name="Moeltner, Peter" userId="7dd467e7-c6cd-4e71-8ae6-0c44179464b6" providerId="ADAL" clId="{2FE850D5-63FD-4E7E-BD0C-0AA6A3271E92}" dt="2023-05-11T13:36:02.831" v="1122" actId="207"/>
          <ac:spMkLst>
            <pc:docMk/>
            <pc:sldMk cId="2308547377" sldId="5214"/>
            <ac:spMk id="3" creationId="{886228A1-F416-AF63-4364-E474DF5A75AF}"/>
          </ac:spMkLst>
        </pc:spChg>
        <pc:spChg chg="add mod">
          <ac:chgData name="Moeltner, Peter" userId="7dd467e7-c6cd-4e71-8ae6-0c44179464b6" providerId="ADAL" clId="{2FE850D5-63FD-4E7E-BD0C-0AA6A3271E92}" dt="2023-05-11T13:39:03.010" v="1188" actId="1076"/>
          <ac:spMkLst>
            <pc:docMk/>
            <pc:sldMk cId="2308547377" sldId="5214"/>
            <ac:spMk id="5" creationId="{060AB596-F5F7-5E77-CD5E-A520B706CA69}"/>
          </ac:spMkLst>
        </pc:spChg>
        <pc:spChg chg="add del mod ord">
          <ac:chgData name="Moeltner, Peter" userId="7dd467e7-c6cd-4e71-8ae6-0c44179464b6" providerId="ADAL" clId="{2FE850D5-63FD-4E7E-BD0C-0AA6A3271E92}" dt="2023-05-11T13:45:25.987" v="1386" actId="21"/>
          <ac:spMkLst>
            <pc:docMk/>
            <pc:sldMk cId="2308547377" sldId="5214"/>
            <ac:spMk id="6" creationId="{9B2588F6-4A25-0BBD-8156-D75B215ED3FF}"/>
          </ac:spMkLst>
        </pc:spChg>
        <pc:spChg chg="add mod">
          <ac:chgData name="Moeltner, Peter" userId="7dd467e7-c6cd-4e71-8ae6-0c44179464b6" providerId="ADAL" clId="{2FE850D5-63FD-4E7E-BD0C-0AA6A3271E92}" dt="2023-05-11T13:41:55.795" v="1275" actId="20577"/>
          <ac:spMkLst>
            <pc:docMk/>
            <pc:sldMk cId="2308547377" sldId="5214"/>
            <ac:spMk id="7" creationId="{54711081-69A6-3404-311C-6B08E2C76D2A}"/>
          </ac:spMkLst>
        </pc:spChg>
        <pc:spChg chg="add mod ord">
          <ac:chgData name="Moeltner, Peter" userId="7dd467e7-c6cd-4e71-8ae6-0c44179464b6" providerId="ADAL" clId="{2FE850D5-63FD-4E7E-BD0C-0AA6A3271E92}" dt="2023-05-11T13:42:49.316" v="1287" actId="1037"/>
          <ac:spMkLst>
            <pc:docMk/>
            <pc:sldMk cId="2308547377" sldId="5214"/>
            <ac:spMk id="8" creationId="{A07FE0D7-80E7-5F62-91F2-5129F2BBB90E}"/>
          </ac:spMkLst>
        </pc:spChg>
        <pc:spChg chg="add mod">
          <ac:chgData name="Moeltner, Peter" userId="7dd467e7-c6cd-4e71-8ae6-0c44179464b6" providerId="ADAL" clId="{2FE850D5-63FD-4E7E-BD0C-0AA6A3271E92}" dt="2023-05-11T13:43:17.962" v="1293" actId="1076"/>
          <ac:spMkLst>
            <pc:docMk/>
            <pc:sldMk cId="2308547377" sldId="5214"/>
            <ac:spMk id="9" creationId="{B0424C54-C73E-AFB1-7561-5715F23305BB}"/>
          </ac:spMkLst>
        </pc:spChg>
        <pc:spChg chg="add mod">
          <ac:chgData name="Moeltner, Peter" userId="7dd467e7-c6cd-4e71-8ae6-0c44179464b6" providerId="ADAL" clId="{2FE850D5-63FD-4E7E-BD0C-0AA6A3271E92}" dt="2023-05-11T13:45:11.475" v="1384" actId="1035"/>
          <ac:spMkLst>
            <pc:docMk/>
            <pc:sldMk cId="2308547377" sldId="5214"/>
            <ac:spMk id="10" creationId="{F1F9C780-9C33-E765-5915-5ED03CA59885}"/>
          </ac:spMkLst>
        </pc:spChg>
        <pc:spChg chg="add mod">
          <ac:chgData name="Moeltner, Peter" userId="7dd467e7-c6cd-4e71-8ae6-0c44179464b6" providerId="ADAL" clId="{2FE850D5-63FD-4E7E-BD0C-0AA6A3271E92}" dt="2023-05-11T13:45:46.618" v="1392" actId="1076"/>
          <ac:spMkLst>
            <pc:docMk/>
            <pc:sldMk cId="2308547377" sldId="5214"/>
            <ac:spMk id="11" creationId="{64AC430A-57C7-70DA-DD23-DF97787D9601}"/>
          </ac:spMkLst>
        </pc:spChg>
        <pc:spChg chg="add mod">
          <ac:chgData name="Moeltner, Peter" userId="7dd467e7-c6cd-4e71-8ae6-0c44179464b6" providerId="ADAL" clId="{2FE850D5-63FD-4E7E-BD0C-0AA6A3271E92}" dt="2023-05-11T13:46:23.332" v="1399" actId="1035"/>
          <ac:spMkLst>
            <pc:docMk/>
            <pc:sldMk cId="2308547377" sldId="5214"/>
            <ac:spMk id="12" creationId="{A67ECE7A-700D-CC6F-8C87-61F11D7A44DC}"/>
          </ac:spMkLst>
        </pc:spChg>
        <pc:spChg chg="add mod">
          <ac:chgData name="Moeltner, Peter" userId="7dd467e7-c6cd-4e71-8ae6-0c44179464b6" providerId="ADAL" clId="{2FE850D5-63FD-4E7E-BD0C-0AA6A3271E92}" dt="2023-05-11T13:47:29.411" v="1460" actId="1076"/>
          <ac:spMkLst>
            <pc:docMk/>
            <pc:sldMk cId="2308547377" sldId="5214"/>
            <ac:spMk id="13" creationId="{162C7312-EAE8-3B8A-5FFE-CC07F2378267}"/>
          </ac:spMkLst>
        </pc:spChg>
        <pc:spChg chg="add mod">
          <ac:chgData name="Moeltner, Peter" userId="7dd467e7-c6cd-4e71-8ae6-0c44179464b6" providerId="ADAL" clId="{2FE850D5-63FD-4E7E-BD0C-0AA6A3271E92}" dt="2023-05-11T13:49:53.755" v="1508" actId="1076"/>
          <ac:spMkLst>
            <pc:docMk/>
            <pc:sldMk cId="2308547377" sldId="5214"/>
            <ac:spMk id="14" creationId="{4B2C8B08-9155-8FB2-C8F1-CEF3CA69BD70}"/>
          </ac:spMkLst>
        </pc:spChg>
        <pc:spChg chg="add mod">
          <ac:chgData name="Moeltner, Peter" userId="7dd467e7-c6cd-4e71-8ae6-0c44179464b6" providerId="ADAL" clId="{2FE850D5-63FD-4E7E-BD0C-0AA6A3271E92}" dt="2023-05-11T13:50:16.259" v="1515" actId="1076"/>
          <ac:spMkLst>
            <pc:docMk/>
            <pc:sldMk cId="2308547377" sldId="5214"/>
            <ac:spMk id="15" creationId="{6BCFF95C-0D9C-ADBE-42DE-2F1E0596FEF0}"/>
          </ac:spMkLst>
        </pc:spChg>
        <pc:picChg chg="mod">
          <ac:chgData name="Moeltner, Peter" userId="7dd467e7-c6cd-4e71-8ae6-0c44179464b6" providerId="ADAL" clId="{2FE850D5-63FD-4E7E-BD0C-0AA6A3271E92}" dt="2023-05-11T13:35:52.209" v="1120" actId="1076"/>
          <ac:picMkLst>
            <pc:docMk/>
            <pc:sldMk cId="2308547377" sldId="5214"/>
            <ac:picMk id="4" creationId="{66831EE8-937A-AE7F-6DB6-426AED884D98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343" cy="467072"/>
          </a:xfrm>
          <a:prstGeom prst="rect">
            <a:avLst/>
          </a:prstGeom>
        </p:spPr>
        <p:txBody>
          <a:bodyPr vert="horz" lIns="93317" tIns="46658" rIns="93317" bIns="46658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978133" y="0"/>
            <a:ext cx="3043343" cy="467072"/>
          </a:xfrm>
          <a:prstGeom prst="rect">
            <a:avLst/>
          </a:prstGeom>
        </p:spPr>
        <p:txBody>
          <a:bodyPr vert="horz" lIns="93317" tIns="46658" rIns="93317" bIns="46658" rtlCol="0"/>
          <a:lstStyle>
            <a:lvl1pPr algn="r">
              <a:defRPr sz="1200"/>
            </a:lvl1pPr>
          </a:lstStyle>
          <a:p>
            <a:fld id="{782E2303-F2B6-439D-857C-AAD6171CFA6E}" type="datetimeFigureOut">
              <a:rPr lang="de-DE" smtClean="0"/>
              <a:t>11.05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17" tIns="46658" rIns="93317" bIns="46658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17" tIns="46658" rIns="93317" bIns="46658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8842031"/>
            <a:ext cx="3043343" cy="467071"/>
          </a:xfrm>
          <a:prstGeom prst="rect">
            <a:avLst/>
          </a:prstGeom>
        </p:spPr>
        <p:txBody>
          <a:bodyPr vert="horz" lIns="93317" tIns="46658" rIns="93317" bIns="46658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978133" y="8842031"/>
            <a:ext cx="3043343" cy="467071"/>
          </a:xfrm>
          <a:prstGeom prst="rect">
            <a:avLst/>
          </a:prstGeom>
        </p:spPr>
        <p:txBody>
          <a:bodyPr vert="horz" lIns="93317" tIns="46658" rIns="93317" bIns="46658" rtlCol="0" anchor="b"/>
          <a:lstStyle>
            <a:lvl1pPr algn="r">
              <a:defRPr sz="1200"/>
            </a:lvl1pPr>
          </a:lstStyle>
          <a:p>
            <a:fld id="{B2CDA7D2-2461-4544-98B0-BD9210188F4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105542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Schnittmengen, hier ist der Platz für übergreifende Projekt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8CF7BC8-56DE-46B9-A251-98B2FCE7F628}" type="slidenum">
              <a:rPr lang="de-DE" altLang="en-US" smtClean="0"/>
              <a:pPr>
                <a:defRPr/>
              </a:pPr>
              <a:t>2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23422161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1.png"/><Relationship Id="rId4" Type="http://schemas.openxmlformats.org/officeDocument/2006/relationships/image" Target="../media/image6.png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.xml"/><Relationship Id="rId4" Type="http://schemas.openxmlformats.org/officeDocument/2006/relationships/image" Target="../media/image12.emf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wmf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White">
          <a:xfrm>
            <a:off x="1600200" y="2386744"/>
            <a:ext cx="8991600" cy="1645920"/>
          </a:xfrm>
          <a:solidFill>
            <a:srgbClr val="FFFFFF"/>
          </a:solidFill>
          <a:ln w="38100">
            <a:solidFill>
              <a:srgbClr val="404040"/>
            </a:solidFill>
          </a:ln>
        </p:spPr>
        <p:txBody>
          <a:bodyPr lIns="274320" rIns="274320" anchor="ctr" anchorCtr="1">
            <a:normAutofit/>
          </a:bodyPr>
          <a:lstStyle>
            <a:lvl1pPr algn="ctr">
              <a:defRPr sz="3800">
                <a:solidFill>
                  <a:srgbClr val="262626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95194" y="4352544"/>
            <a:ext cx="6801612" cy="1239894"/>
          </a:xfrm>
          <a:noFill/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B4D32F-122F-4D69-BA2D-ED0AABEF3798}" type="datetimeFigureOut">
              <a:rPr lang="de-DE" smtClean="0"/>
              <a:t>11.05.2023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F35C4-A9C7-4A18-8B91-2212F20329C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67886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B4D32F-122F-4D69-BA2D-ED0AABEF3798}" type="datetimeFigureOut">
              <a:rPr lang="de-DE" smtClean="0"/>
              <a:t>11.05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F35C4-A9C7-4A18-8B91-2212F20329C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3045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53112" y="937260"/>
            <a:ext cx="1298608" cy="4983480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231136" y="937260"/>
            <a:ext cx="6198489" cy="4983480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B4D32F-122F-4D69-BA2D-ED0AABEF3798}" type="datetimeFigureOut">
              <a:rPr lang="de-DE" smtClean="0"/>
              <a:t>11.05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F35C4-A9C7-4A18-8B91-2212F20329C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65401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_oben_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99DC922-9D2F-624B-B701-E27ED1DF0A4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14919" y="710211"/>
            <a:ext cx="11195660" cy="7109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733" b="1"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sp>
        <p:nvSpPr>
          <p:cNvPr id="7" name="Inhaltsplatzhalter 3"/>
          <p:cNvSpPr>
            <a:spLocks noGrp="1"/>
          </p:cNvSpPr>
          <p:nvPr>
            <p:ph sz="quarter" idx="20" hasCustomPrompt="1"/>
          </p:nvPr>
        </p:nvSpPr>
        <p:spPr>
          <a:xfrm>
            <a:off x="814917" y="1488339"/>
            <a:ext cx="8002152" cy="5003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667"/>
            </a:lvl1pPr>
          </a:lstStyle>
          <a:p>
            <a:pPr lvl="0"/>
            <a:r>
              <a:rPr lang="de-DE" noProof="0"/>
              <a:t>Unterüberschrift</a:t>
            </a:r>
          </a:p>
        </p:txBody>
      </p:sp>
      <p:sp>
        <p:nvSpPr>
          <p:cNvPr id="8" name="Bildplatzhalter 19"/>
          <p:cNvSpPr>
            <a:spLocks noGrp="1"/>
          </p:cNvSpPr>
          <p:nvPr>
            <p:ph type="pic" sz="quarter" idx="21"/>
          </p:nvPr>
        </p:nvSpPr>
        <p:spPr>
          <a:xfrm>
            <a:off x="9800655" y="5706796"/>
            <a:ext cx="2013368" cy="810737"/>
          </a:xfrm>
          <a:prstGeom prst="rect">
            <a:avLst/>
          </a:prstGeom>
          <a:blipFill rotWithShape="1">
            <a:blip r:embed="rId2"/>
            <a:stretch>
              <a:fillRect/>
            </a:stretch>
          </a:blipFill>
        </p:spPr>
        <p:txBody>
          <a:bodyPr vert="horz"/>
          <a:lstStyle>
            <a:lvl1pPr marL="0" indent="0">
              <a:buNone/>
              <a:defRPr sz="1067">
                <a:solidFill>
                  <a:srgbClr val="FFFFFF">
                    <a:alpha val="0"/>
                  </a:srgbClr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020343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apitel">
    <p:bg>
      <p:bgPr>
        <a:solidFill>
          <a:schemeClr val="tx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3"/>
          <p:cNvSpPr>
            <a:spLocks noGrp="1"/>
          </p:cNvSpPr>
          <p:nvPr>
            <p:ph sz="quarter" idx="20" hasCustomPrompt="1"/>
          </p:nvPr>
        </p:nvSpPr>
        <p:spPr>
          <a:xfrm>
            <a:off x="814918" y="1377359"/>
            <a:ext cx="9081716" cy="432371"/>
          </a:xfrm>
          <a:prstGeom prst="rect">
            <a:avLst/>
          </a:prstGeom>
        </p:spPr>
        <p:txBody>
          <a:bodyPr vert="horz" lIns="0" tIns="0" rIns="0" bIns="0"/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667"/>
            </a:lvl1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noProof="0" dirty="0"/>
              <a:t>Unterüberschrift</a:t>
            </a:r>
          </a:p>
        </p:txBody>
      </p:sp>
      <p:sp>
        <p:nvSpPr>
          <p:cNvPr id="6" name="Bildplatzhalter 19"/>
          <p:cNvSpPr>
            <a:spLocks noGrp="1"/>
          </p:cNvSpPr>
          <p:nvPr>
            <p:ph type="pic" sz="quarter" idx="21"/>
          </p:nvPr>
        </p:nvSpPr>
        <p:spPr>
          <a:xfrm>
            <a:off x="9800655" y="5706796"/>
            <a:ext cx="2013368" cy="810737"/>
          </a:xfrm>
          <a:prstGeom prst="rect">
            <a:avLst/>
          </a:prstGeom>
          <a:blipFill rotWithShape="1">
            <a:blip r:embed="rId2"/>
            <a:stretch>
              <a:fillRect/>
            </a:stretch>
          </a:blipFill>
        </p:spPr>
        <p:txBody>
          <a:bodyPr vert="horz"/>
          <a:lstStyle>
            <a:lvl1pPr marL="0" indent="0">
              <a:buNone/>
              <a:defRPr sz="1067">
                <a:solidFill>
                  <a:srgbClr val="FFFFFF">
                    <a:alpha val="0"/>
                  </a:srgbClr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" name="Textplatzhalter 14"/>
          <p:cNvSpPr>
            <a:spLocks noGrp="1"/>
          </p:cNvSpPr>
          <p:nvPr>
            <p:ph type="body" sz="quarter" idx="22" hasCustomPrompt="1"/>
          </p:nvPr>
        </p:nvSpPr>
        <p:spPr>
          <a:xfrm>
            <a:off x="821934" y="704065"/>
            <a:ext cx="9074700" cy="703924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4267" b="1" baseline="0"/>
            </a:lvl1pPr>
          </a:lstStyle>
          <a:p>
            <a:pPr lvl="0"/>
            <a:r>
              <a:rPr lang="de-DE" dirty="0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14166662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_nur_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0">
            <a:extLst>
              <a:ext uri="{FF2B5EF4-FFF2-40B4-BE49-F238E27FC236}">
                <a16:creationId xmlns:a16="http://schemas.microsoft.com/office/drawing/2014/main" id="{7CEA07DD-C5CC-AC49-86EB-7823AF2FE06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932081" y="185771"/>
            <a:ext cx="5208479" cy="415479"/>
          </a:xfrm>
          <a:prstGeom prst="rect">
            <a:avLst/>
          </a:prstGeom>
        </p:spPr>
        <p:txBody>
          <a:bodyPr wrap="square" lIns="36000" tIns="0" rIns="36000" anchor="t"/>
          <a:lstStyle>
            <a:lvl1pPr marL="496852" indent="-446056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lang="en-IT" sz="2000" b="1" i="0" kern="1200" dirty="0">
                <a:solidFill>
                  <a:schemeClr val="bg1"/>
                </a:solidFill>
                <a:latin typeface="Suedtirol Next TT" panose="02000000000000000000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GB" dirty="0" err="1"/>
              <a:t>Untertitel</a:t>
            </a:r>
            <a:r>
              <a:rPr lang="en-GB" dirty="0"/>
              <a:t> – </a:t>
            </a:r>
            <a:r>
              <a:rPr lang="en-GB" dirty="0" err="1"/>
              <a:t>Suedtirol</a:t>
            </a:r>
            <a:r>
              <a:rPr lang="en-GB" dirty="0"/>
              <a:t> Next 20pt Bold</a:t>
            </a:r>
            <a:endParaRPr lang="en-IT" dirty="0"/>
          </a:p>
        </p:txBody>
      </p:sp>
      <p:sp>
        <p:nvSpPr>
          <p:cNvPr id="21" name="Title 6">
            <a:extLst>
              <a:ext uri="{FF2B5EF4-FFF2-40B4-BE49-F238E27FC236}">
                <a16:creationId xmlns:a16="http://schemas.microsoft.com/office/drawing/2014/main" id="{8790B776-6112-B948-8E8E-7012A67F39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32081" y="613221"/>
            <a:ext cx="7886700" cy="636952"/>
          </a:xfrm>
          <a:prstGeom prst="rect">
            <a:avLst/>
          </a:prstGeom>
        </p:spPr>
        <p:txBody>
          <a:bodyPr/>
          <a:lstStyle>
            <a:lvl1pPr algn="l">
              <a:defRPr sz="4000" b="1">
                <a:solidFill>
                  <a:schemeClr val="bg1"/>
                </a:solidFill>
                <a:latin typeface="Suedtirol Pro" panose="020B0704020208030204" pitchFamily="34" charset="77"/>
              </a:defRPr>
            </a:lvl1pPr>
          </a:lstStyle>
          <a:p>
            <a:r>
              <a:rPr lang="en-GB" dirty="0" err="1"/>
              <a:t>Titel</a:t>
            </a:r>
            <a:r>
              <a:rPr lang="en-GB" dirty="0"/>
              <a:t> – </a:t>
            </a:r>
            <a:r>
              <a:rPr lang="en-GB" dirty="0" err="1"/>
              <a:t>Suedtirol</a:t>
            </a:r>
            <a:r>
              <a:rPr lang="en-GB" dirty="0"/>
              <a:t> Pro 40pt</a:t>
            </a:r>
            <a:endParaRPr lang="en-IT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5177E2B8-22EC-5A46-AD4F-78585ABB36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889" y="176251"/>
            <a:ext cx="1240547" cy="927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29613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_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551369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6">
            <a:extLst>
              <a:ext uri="{FF2B5EF4-FFF2-40B4-BE49-F238E27FC236}">
                <a16:creationId xmlns:a16="http://schemas.microsoft.com/office/drawing/2014/main" id="{AD1B6C6E-941F-A749-B898-0D2C7DE3DA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0" y="3242145"/>
            <a:ext cx="10896600" cy="784759"/>
          </a:xfrm>
          <a:prstGeom prst="rect">
            <a:avLst/>
          </a:prstGeom>
        </p:spPr>
        <p:txBody>
          <a:bodyPr/>
          <a:lstStyle>
            <a:lvl1pPr algn="l">
              <a:buFont typeface="+mj-lt"/>
              <a:buNone/>
              <a:defRPr sz="4600" b="1">
                <a:solidFill>
                  <a:schemeClr val="bg1"/>
                </a:solidFill>
                <a:latin typeface="Suedtirol Pro" panose="020B0704020208030204" pitchFamily="34" charset="77"/>
              </a:defRPr>
            </a:lvl1pPr>
          </a:lstStyle>
          <a:p>
            <a:r>
              <a:rPr lang="en-GB" dirty="0"/>
              <a:t>1) </a:t>
            </a:r>
            <a:r>
              <a:rPr lang="en-GB" dirty="0" err="1"/>
              <a:t>Tema</a:t>
            </a:r>
            <a:r>
              <a:rPr lang="en-GB" dirty="0"/>
              <a:t> – </a:t>
            </a:r>
            <a:r>
              <a:rPr lang="en-GB" dirty="0" err="1"/>
              <a:t>Suedtirol</a:t>
            </a:r>
            <a:r>
              <a:rPr lang="en-GB" dirty="0"/>
              <a:t> Pro 46pt</a:t>
            </a:r>
            <a:endParaRPr lang="en-IT" dirty="0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71A34732-D44C-A447-BDDA-4F149EEBF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700" y="2757562"/>
            <a:ext cx="10896600" cy="739775"/>
          </a:xfrm>
          <a:prstGeom prst="rect">
            <a:avLst/>
          </a:prstGeom>
        </p:spPr>
        <p:txBody>
          <a:bodyPr/>
          <a:lstStyle>
            <a:lvl1pPr>
              <a:buNone/>
              <a:defRPr b="1" i="0">
                <a:solidFill>
                  <a:schemeClr val="bg1"/>
                </a:solidFill>
                <a:latin typeface="Suedtirol Next TT" panose="02000000000000000000" pitchFamily="2" charset="0"/>
              </a:defRPr>
            </a:lvl1pPr>
          </a:lstStyle>
          <a:p>
            <a:pPr lvl="0"/>
            <a:r>
              <a:rPr lang="en-GB" dirty="0" err="1"/>
              <a:t>Unteritel</a:t>
            </a:r>
            <a:r>
              <a:rPr lang="en-GB" dirty="0"/>
              <a:t> – </a:t>
            </a:r>
            <a:r>
              <a:rPr lang="en-GB" dirty="0" err="1"/>
              <a:t>Suedtirol</a:t>
            </a:r>
            <a:r>
              <a:rPr lang="en-GB" dirty="0"/>
              <a:t> Next 28pt Bold </a:t>
            </a:r>
            <a:endParaRPr lang="en-IT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23C06182-A143-674D-A65C-D0E36FD06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64452"/>
            <a:ext cx="4114800" cy="365125"/>
          </a:xfrm>
          <a:prstGeom prst="rect">
            <a:avLst/>
          </a:prstGeom>
        </p:spPr>
        <p:txBody>
          <a:bodyPr/>
          <a:lstStyle>
            <a:lvl1pPr algn="ctr">
              <a:defRPr sz="1400" b="0" i="0">
                <a:solidFill>
                  <a:schemeClr val="bg1"/>
                </a:solidFill>
                <a:latin typeface="Suedtirol Next TT" panose="02000000000000000000" pitchFamily="2" charset="0"/>
              </a:defRPr>
            </a:lvl1pPr>
          </a:lstStyle>
          <a:p>
            <a:r>
              <a:rPr lang="de-DE" dirty="0"/>
              <a:t>Name Präsentation</a:t>
            </a:r>
            <a:endParaRPr lang="en-IT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4662E6D6-BCBA-4049-B096-983B7B8218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7700" y="6356351"/>
            <a:ext cx="2743200" cy="365125"/>
          </a:xfrm>
          <a:prstGeom prst="rect">
            <a:avLst/>
          </a:prstGeom>
        </p:spPr>
        <p:txBody>
          <a:bodyPr/>
          <a:lstStyle>
            <a:lvl1pPr algn="l">
              <a:defRPr sz="1400" b="0" i="0">
                <a:solidFill>
                  <a:schemeClr val="bg1"/>
                </a:solidFill>
                <a:latin typeface="Suedtirol Next TT" panose="02000000000000000000" pitchFamily="2" charset="0"/>
              </a:defRPr>
            </a:lvl1pPr>
          </a:lstStyle>
          <a:p>
            <a:fld id="{FA6A1BD3-27F0-AA48-9271-84D3501B562D}" type="slidenum">
              <a:rPr lang="en-IT" smtClean="0"/>
              <a:pPr/>
              <a:t>‹Nr.›</a:t>
            </a:fld>
            <a:endParaRPr lang="en-IT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7F42617B-554D-1648-8883-13DE4DE60C19}"/>
              </a:ext>
            </a:extLst>
          </p:cNvPr>
          <p:cNvSpPr/>
          <p:nvPr userDrawn="1"/>
        </p:nvSpPr>
        <p:spPr>
          <a:xfrm>
            <a:off x="9538015" y="6364453"/>
            <a:ext cx="211788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de-DE" sz="1400" b="0" i="0" dirty="0" err="1">
                <a:solidFill>
                  <a:schemeClr val="bg1"/>
                </a:solidFill>
                <a:latin typeface="Suedtirol Next TT" panose="02000000000000000000" pitchFamily="2" charset="0"/>
              </a:rPr>
              <a:t>www.suedtirolerapfel.com</a:t>
            </a:r>
            <a:endParaRPr lang="en-IT" sz="1400" b="0" i="0" dirty="0">
              <a:solidFill>
                <a:schemeClr val="bg1"/>
              </a:solidFill>
              <a:latin typeface="Suedtirol Next T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245092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background pic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feld 8">
            <a:extLst>
              <a:ext uri="{FF2B5EF4-FFF2-40B4-BE49-F238E27FC236}">
                <a16:creationId xmlns:a16="http://schemas.microsoft.com/office/drawing/2014/main" id="{BDD4B0C4-223B-4128-8AFD-255C9200A252}"/>
              </a:ext>
            </a:extLst>
          </p:cNvPr>
          <p:cNvSpPr txBox="1"/>
          <p:nvPr userDrawn="1"/>
        </p:nvSpPr>
        <p:spPr>
          <a:xfrm flipH="1">
            <a:off x="1119717" y="7334400"/>
            <a:ext cx="3147483" cy="668435"/>
          </a:xfrm>
          <a:prstGeom prst="rect">
            <a:avLst/>
          </a:prstGeom>
          <a:solidFill>
            <a:schemeClr val="accent4"/>
          </a:solidFill>
        </p:spPr>
        <p:txBody>
          <a:bodyPr wrap="square" lIns="144000" tIns="72000" rIns="144000" bIns="72000" rtlCol="0" anchor="t" anchorCtr="0">
            <a:spAutoFit/>
          </a:bodyPr>
          <a:lstStyle/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Das Datum aktualisiert sich automatisch. </a:t>
            </a:r>
            <a:br>
              <a:rPr lang="de-DE" sz="1133" b="0" kern="600" baseline="0">
                <a:solidFill>
                  <a:schemeClr val="bg1"/>
                </a:solidFill>
                <a:latin typeface="+mn-lt"/>
              </a:rPr>
            </a:br>
            <a:r>
              <a:rPr lang="de-CH" sz="1133" b="0" kern="600" baseline="0">
                <a:solidFill>
                  <a:schemeClr val="bg1"/>
                </a:solidFill>
                <a:latin typeface="+mn-lt"/>
              </a:rPr>
              <a:t>Über »Einfügen -&gt; Kopf- und Fußzeile« </a:t>
            </a:r>
            <a:br>
              <a:rPr lang="de-CH" sz="1133" b="0" kern="600" baseline="0">
                <a:solidFill>
                  <a:schemeClr val="bg1"/>
                </a:solidFill>
                <a:latin typeface="+mn-lt"/>
              </a:rPr>
            </a:br>
            <a:r>
              <a:rPr lang="de-CH" sz="1133" b="0" kern="600" baseline="0">
                <a:solidFill>
                  <a:schemeClr val="bg1"/>
                </a:solidFill>
                <a:latin typeface="+mn-lt"/>
              </a:rPr>
              <a:t>können Sie dies ändern.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F16F10C-6866-42D0-AAA5-EFF70DADD537}"/>
              </a:ext>
            </a:extLst>
          </p:cNvPr>
          <p:cNvSpPr txBox="1"/>
          <p:nvPr userDrawn="1"/>
        </p:nvSpPr>
        <p:spPr>
          <a:xfrm flipH="1">
            <a:off x="-3840000" y="0"/>
            <a:ext cx="3360000" cy="319749"/>
          </a:xfrm>
          <a:prstGeom prst="rect">
            <a:avLst/>
          </a:prstGeom>
          <a:solidFill>
            <a:schemeClr val="accent6"/>
          </a:solidFill>
        </p:spPr>
        <p:txBody>
          <a:bodyPr wrap="square" lIns="144000" tIns="72000" rIns="144000" bIns="72000" rtlCol="0" anchor="t" anchorCtr="0">
            <a:spAutoFit/>
          </a:bodyPr>
          <a:lstStyle/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Präsentationsformat: 16:9</a:t>
            </a:r>
            <a:endParaRPr lang="de-CH" sz="1133" b="0" kern="600" baseline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9092F150-BB95-4881-B293-C29394BF517C}"/>
              </a:ext>
            </a:extLst>
          </p:cNvPr>
          <p:cNvSpPr txBox="1"/>
          <p:nvPr userDrawn="1"/>
        </p:nvSpPr>
        <p:spPr>
          <a:xfrm>
            <a:off x="-7248000" y="322127"/>
            <a:ext cx="3360000" cy="4671123"/>
          </a:xfrm>
          <a:prstGeom prst="rect">
            <a:avLst/>
          </a:prstGeom>
          <a:solidFill>
            <a:schemeClr val="accent2"/>
          </a:solidFill>
        </p:spPr>
        <p:txBody>
          <a:bodyPr wrap="square" lIns="144000" tIns="72000" rIns="144000" bIns="72000" rtlCol="0">
            <a:noAutofit/>
          </a:bodyPr>
          <a:lstStyle/>
          <a:p>
            <a:r>
              <a:rPr lang="de-DE" sz="1133" b="0" kern="600">
                <a:solidFill>
                  <a:schemeClr val="bg1"/>
                </a:solidFill>
                <a:latin typeface="+mj-lt"/>
              </a:rPr>
              <a:t>Layout ändern / Neue Folie erstellen:</a:t>
            </a:r>
          </a:p>
          <a:p>
            <a:r>
              <a:rPr lang="de-DE" sz="1133" b="0" kern="600">
                <a:solidFill>
                  <a:schemeClr val="bg1"/>
                </a:solidFill>
                <a:latin typeface="+mn-lt"/>
              </a:rPr>
              <a:t>Klicken Sie unter »Start -&gt; Folien«</a:t>
            </a: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1133" b="0" kern="600">
                <a:solidFill>
                  <a:schemeClr val="bg1"/>
                </a:solidFill>
                <a:latin typeface="+mn-lt"/>
              </a:rPr>
              <a:t>auf »Layout« (oder</a:t>
            </a: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 auf »</a:t>
            </a:r>
            <a:r>
              <a:rPr lang="de-DE" sz="1133" b="0" kern="600">
                <a:solidFill>
                  <a:schemeClr val="bg1"/>
                </a:solidFill>
                <a:latin typeface="+mn-lt"/>
              </a:rPr>
              <a:t>Neue Folie«) und wählen Sie das gewünschte Layout. Alternativ kopieren Sie eine fertige Folie und bearbeiten diese.</a:t>
            </a:r>
          </a:p>
          <a:p>
            <a:endParaRPr lang="de-DE" sz="1133" b="0" kern="600">
              <a:solidFill>
                <a:schemeClr val="bg1"/>
              </a:solidFill>
              <a:latin typeface="+mn-lt"/>
            </a:endParaRPr>
          </a:p>
          <a:p>
            <a:endParaRPr lang="de-DE" sz="1133" b="0" kern="600">
              <a:solidFill>
                <a:schemeClr val="bg1"/>
              </a:solidFill>
              <a:latin typeface="+mn-lt"/>
            </a:endParaRPr>
          </a:p>
          <a:p>
            <a:endParaRPr lang="de-DE" sz="1133" b="0" kern="600">
              <a:solidFill>
                <a:schemeClr val="bg1"/>
              </a:solidFill>
              <a:latin typeface="+mn-lt"/>
            </a:endParaRPr>
          </a:p>
          <a:p>
            <a:endParaRPr lang="de-DE" sz="1133" b="0" kern="600">
              <a:solidFill>
                <a:schemeClr val="bg1"/>
              </a:solidFill>
              <a:latin typeface="+mn-lt"/>
            </a:endParaRPr>
          </a:p>
          <a:p>
            <a:endParaRPr lang="de-DE" sz="1133" b="0" kern="600">
              <a:solidFill>
                <a:schemeClr val="bg1"/>
              </a:solidFill>
              <a:latin typeface="+mn-lt"/>
            </a:endParaRPr>
          </a:p>
          <a:p>
            <a:endParaRPr lang="de-DE" sz="1133" b="0" kern="600">
              <a:solidFill>
                <a:schemeClr val="bg1"/>
              </a:solidFill>
              <a:latin typeface="+mn-lt"/>
            </a:endParaRPr>
          </a:p>
          <a:p>
            <a:endParaRPr lang="de-DE" sz="1133" b="0" kern="600">
              <a:solidFill>
                <a:schemeClr val="bg1"/>
              </a:solidFill>
              <a:latin typeface="+mn-lt"/>
            </a:endParaRPr>
          </a:p>
          <a:p>
            <a:endParaRPr lang="de-DE" sz="1133" b="0" kern="600">
              <a:solidFill>
                <a:schemeClr val="bg1"/>
              </a:solidFill>
              <a:latin typeface="+mn-lt"/>
            </a:endParaRPr>
          </a:p>
          <a:p>
            <a:endParaRPr lang="de-DE" sz="1133" b="0" kern="600">
              <a:solidFill>
                <a:schemeClr val="bg1"/>
              </a:solidFill>
              <a:latin typeface="+mn-lt"/>
            </a:endParaRPr>
          </a:p>
          <a:p>
            <a:endParaRPr lang="de-DE" sz="1133" b="0" kern="600">
              <a:solidFill>
                <a:schemeClr val="bg1"/>
              </a:solidFill>
              <a:latin typeface="+mn-lt"/>
            </a:endParaRPr>
          </a:p>
          <a:p>
            <a:endParaRPr lang="de-DE" sz="1133" b="0" kern="600">
              <a:solidFill>
                <a:schemeClr val="bg1"/>
              </a:solidFill>
              <a:latin typeface="+mn-lt"/>
            </a:endParaRPr>
          </a:p>
          <a:p>
            <a:endParaRPr lang="de-DE" sz="1133" b="0" kern="600">
              <a:solidFill>
                <a:schemeClr val="bg1"/>
              </a:solidFill>
              <a:latin typeface="+mn-lt"/>
            </a:endParaRPr>
          </a:p>
          <a:p>
            <a:endParaRPr lang="de-DE" sz="1133" b="0" kern="600">
              <a:solidFill>
                <a:schemeClr val="bg1"/>
              </a:solidFill>
              <a:latin typeface="+mn-lt"/>
            </a:endParaRPr>
          </a:p>
          <a:p>
            <a:endParaRPr lang="de-DE" sz="1133" b="0" kern="600">
              <a:solidFill>
                <a:schemeClr val="bg1"/>
              </a:solidFill>
              <a:latin typeface="+mj-lt"/>
            </a:endParaRPr>
          </a:p>
          <a:p>
            <a:endParaRPr lang="de-DE" sz="1133" b="0" kern="600">
              <a:solidFill>
                <a:schemeClr val="bg1"/>
              </a:solidFill>
              <a:latin typeface="+mj-lt"/>
            </a:endParaRPr>
          </a:p>
          <a:p>
            <a:r>
              <a:rPr lang="de-DE" sz="1133" b="0" kern="600">
                <a:solidFill>
                  <a:schemeClr val="bg1"/>
                </a:solidFill>
                <a:latin typeface="+mj-lt"/>
              </a:rPr>
              <a:t>Farbvarianten</a:t>
            </a:r>
          </a:p>
          <a:p>
            <a:r>
              <a:rPr lang="de-DE" sz="1133" b="0" kern="600">
                <a:solidFill>
                  <a:schemeClr val="bg1"/>
                </a:solidFill>
                <a:latin typeface="+mn-lt"/>
              </a:rPr>
              <a:t>Es sind alle Layouts in allen Themenfarben enthalten, Sie können Ihre Präsentation beliebig zusammenstellen. Wenn Sie selber einfärben, müssen Sie darauf achten, dass der Farbbalken immer die selbe Farbe wie der i-Punkt im Logo hat.</a:t>
            </a:r>
          </a:p>
          <a:p>
            <a:endParaRPr lang="de-DE" sz="1133" b="0" kern="6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C12DEF99-F655-4ACE-807F-22D7A5D45F02}"/>
              </a:ext>
            </a:extLst>
          </p:cNvPr>
          <p:cNvSpPr txBox="1"/>
          <p:nvPr userDrawn="1"/>
        </p:nvSpPr>
        <p:spPr>
          <a:xfrm>
            <a:off x="-3840000" y="4993249"/>
            <a:ext cx="3360000" cy="66843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square" lIns="144000" tIns="72000" rIns="144000" bIns="72000" rtlCol="0">
            <a:spAutoFit/>
          </a:bodyPr>
          <a:lstStyle/>
          <a:p>
            <a:r>
              <a:rPr lang="de-DE" sz="1133" b="0" kern="600">
                <a:solidFill>
                  <a:schemeClr val="bg1"/>
                </a:solidFill>
                <a:latin typeface="+mj-lt"/>
              </a:rPr>
              <a:t>Elemente und Spalten ausrichten:</a:t>
            </a:r>
          </a:p>
          <a:p>
            <a:r>
              <a:rPr lang="de-DE" sz="1133" b="0" kern="600">
                <a:solidFill>
                  <a:schemeClr val="bg1"/>
                </a:solidFill>
                <a:latin typeface="+mn-lt"/>
              </a:rPr>
              <a:t>Beachten Sie die enthaltenen</a:t>
            </a: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 Führungslinien (Ansicht -&gt; Anzeigen -&gt; Führungslinien).</a:t>
            </a:r>
            <a:endParaRPr lang="de-CH" sz="1133" b="0" kern="6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317A5FF7-F545-4511-A8E8-E93A4077EE14}"/>
              </a:ext>
            </a:extLst>
          </p:cNvPr>
          <p:cNvSpPr txBox="1"/>
          <p:nvPr userDrawn="1"/>
        </p:nvSpPr>
        <p:spPr>
          <a:xfrm>
            <a:off x="-3840000" y="5661875"/>
            <a:ext cx="3360000" cy="1191462"/>
          </a:xfrm>
          <a:prstGeom prst="rect">
            <a:avLst/>
          </a:prstGeom>
          <a:solidFill>
            <a:schemeClr val="accent6"/>
          </a:solidFill>
        </p:spPr>
        <p:txBody>
          <a:bodyPr wrap="square" lIns="144000" tIns="72000" rIns="144000" bIns="72000" rtlCol="0">
            <a:spAutoFit/>
          </a:bodyPr>
          <a:lstStyle/>
          <a:p>
            <a:r>
              <a:rPr lang="de-DE" sz="1133" b="0" kern="600">
                <a:solidFill>
                  <a:schemeClr val="bg1"/>
                </a:solidFill>
                <a:latin typeface="+mj-lt"/>
              </a:rPr>
              <a:t>Positionen berichtigen/Layout zurücksetzen:</a:t>
            </a:r>
          </a:p>
          <a:p>
            <a:r>
              <a:rPr lang="de-DE" sz="1133" b="0" kern="600">
                <a:solidFill>
                  <a:schemeClr val="bg1"/>
                </a:solidFill>
                <a:latin typeface="+mn-lt"/>
              </a:rPr>
              <a:t>Falls Sie Elemente aus Versehen verschoben haben, können Sie das Layout mittels Rechtsklick auf das kleine Übersichtsbild am linken Bildschirmrand zurücksetzen. Wählen Sie hierfür den Eintrag </a:t>
            </a:r>
            <a:br>
              <a:rPr lang="de-DE" sz="1133" b="0" kern="600">
                <a:solidFill>
                  <a:schemeClr val="bg1"/>
                </a:solidFill>
                <a:latin typeface="+mn-lt"/>
              </a:rPr>
            </a:br>
            <a:r>
              <a:rPr lang="de-DE" sz="1133" b="0" kern="600">
                <a:solidFill>
                  <a:schemeClr val="bg1"/>
                </a:solidFill>
                <a:latin typeface="+mn-lt"/>
              </a:rPr>
              <a:t>»Folie zurücksetzen«</a:t>
            </a: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.</a:t>
            </a:r>
            <a:endParaRPr lang="de-CH" sz="1133" b="0" kern="6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B6C961A3-AF5D-47D4-9C45-F4B25B215F57}"/>
              </a:ext>
            </a:extLst>
          </p:cNvPr>
          <p:cNvSpPr/>
          <p:nvPr userDrawn="1"/>
        </p:nvSpPr>
        <p:spPr>
          <a:xfrm>
            <a:off x="613835" y="0"/>
            <a:ext cx="4705349" cy="6858000"/>
          </a:xfrm>
          <a:prstGeom prst="rect">
            <a:avLst/>
          </a:prstGeom>
          <a:solidFill>
            <a:schemeClr val="bg1">
              <a:alpha val="9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F0002F13-0534-4045-B63C-856CADE32D3C}"/>
              </a:ext>
            </a:extLst>
          </p:cNvPr>
          <p:cNvSpPr/>
          <p:nvPr userDrawn="1"/>
        </p:nvSpPr>
        <p:spPr>
          <a:xfrm>
            <a:off x="613835" y="0"/>
            <a:ext cx="1248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19719" y="313266"/>
            <a:ext cx="4199467" cy="3249083"/>
          </a:xfrm>
        </p:spPr>
        <p:txBody>
          <a:bodyPr lIns="0" tIns="0" rIns="144000" bIns="28800" anchor="b" anchorCtr="0">
            <a:noAutofit/>
          </a:bodyPr>
          <a:lstStyle>
            <a:lvl1pPr algn="l">
              <a:lnSpc>
                <a:spcPts val="3000"/>
              </a:lnSpc>
              <a:defRPr sz="2733" kern="600" cap="none" baseline="0">
                <a:solidFill>
                  <a:schemeClr val="accent2"/>
                </a:solidFill>
                <a:latin typeface="Suedtirol Next TT" panose="02000000000000000000" pitchFamily="2" charset="0"/>
              </a:defRPr>
            </a:lvl1pPr>
          </a:lstStyle>
          <a:p>
            <a:r>
              <a:rPr lang="de-DE"/>
              <a:t>IDM Präsentationstitel eingeben</a:t>
            </a:r>
            <a:endParaRPr lang="en-US"/>
          </a:p>
        </p:txBody>
      </p:sp>
      <p:sp>
        <p:nvSpPr>
          <p:cNvPr id="21" name="Datumsplatzhalter 20">
            <a:extLst>
              <a:ext uri="{FF2B5EF4-FFF2-40B4-BE49-F238E27FC236}">
                <a16:creationId xmlns:a16="http://schemas.microsoft.com/office/drawing/2014/main" id="{349E34B3-3650-472F-B9A7-46C6D26279B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9718" y="3562352"/>
            <a:ext cx="4199465" cy="517649"/>
          </a:xfrm>
        </p:spPr>
        <p:txBody>
          <a:bodyPr/>
          <a:lstStyle>
            <a:lvl1pPr>
              <a:lnSpc>
                <a:spcPts val="3000"/>
              </a:lnSpc>
              <a:defRPr sz="2133">
                <a:solidFill>
                  <a:schemeClr val="accent2"/>
                </a:solidFill>
              </a:defRPr>
            </a:lvl1pPr>
          </a:lstStyle>
          <a:p>
            <a:fld id="{ED17C4BD-1608-4EA2-945F-CB42D8FD39FF}" type="datetime1">
              <a:rPr lang="de-DE" smtClean="0"/>
              <a:pPr/>
              <a:t>11.05.2023</a:t>
            </a:fld>
            <a:endParaRPr lang="de-CH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19719" y="4080000"/>
            <a:ext cx="4199467" cy="960001"/>
          </a:xfrm>
        </p:spPr>
        <p:txBody>
          <a:bodyPr lIns="0" tIns="0" rIns="144000" bIns="0" anchor="t" anchorCtr="0">
            <a:noAutofit/>
          </a:bodyPr>
          <a:lstStyle>
            <a:lvl1pPr marL="0" indent="0" algn="l">
              <a:lnSpc>
                <a:spcPct val="107000"/>
              </a:lnSpc>
              <a:spcBef>
                <a:spcPts val="0"/>
              </a:spcBef>
              <a:buNone/>
              <a:defRPr sz="1133" i="1" kern="600" baseline="0">
                <a:solidFill>
                  <a:schemeClr val="accent2"/>
                </a:solidFill>
                <a:latin typeface="+mj-lt"/>
              </a:defRPr>
            </a:lvl1pPr>
            <a:lvl2pPr marL="0" indent="0" algn="l">
              <a:lnSpc>
                <a:spcPct val="107000"/>
              </a:lnSpc>
              <a:spcBef>
                <a:spcPts val="0"/>
              </a:spcBef>
              <a:buNone/>
              <a:defRPr sz="1133" i="1">
                <a:solidFill>
                  <a:schemeClr val="accent2"/>
                </a:solidFill>
                <a:latin typeface="+mj-lt"/>
              </a:defRPr>
            </a:lvl2pPr>
            <a:lvl3pPr marL="0" indent="0" algn="l">
              <a:lnSpc>
                <a:spcPct val="107000"/>
              </a:lnSpc>
              <a:spcBef>
                <a:spcPts val="0"/>
              </a:spcBef>
              <a:buNone/>
              <a:defRPr sz="1133" i="1">
                <a:solidFill>
                  <a:schemeClr val="accent2"/>
                </a:solidFill>
                <a:latin typeface="+mj-lt"/>
              </a:defRPr>
            </a:lvl3pPr>
            <a:lvl4pPr marL="0" indent="0" algn="l">
              <a:lnSpc>
                <a:spcPct val="107000"/>
              </a:lnSpc>
              <a:spcBef>
                <a:spcPts val="0"/>
              </a:spcBef>
              <a:buNone/>
              <a:defRPr sz="1133" i="1">
                <a:solidFill>
                  <a:schemeClr val="accent2"/>
                </a:solidFill>
                <a:latin typeface="+mj-lt"/>
              </a:defRPr>
            </a:lvl4pPr>
            <a:lvl5pPr marL="0" indent="0" algn="l">
              <a:lnSpc>
                <a:spcPct val="107000"/>
              </a:lnSpc>
              <a:spcBef>
                <a:spcPts val="0"/>
              </a:spcBef>
              <a:buNone/>
              <a:defRPr sz="1133" i="1">
                <a:solidFill>
                  <a:schemeClr val="accent2"/>
                </a:solidFill>
                <a:latin typeface="+mj-lt"/>
              </a:defRPr>
            </a:lvl5pPr>
            <a:lvl6pPr marL="0" indent="0" algn="l">
              <a:lnSpc>
                <a:spcPct val="107000"/>
              </a:lnSpc>
              <a:spcBef>
                <a:spcPts val="0"/>
              </a:spcBef>
              <a:buNone/>
              <a:defRPr sz="1133" i="1">
                <a:solidFill>
                  <a:schemeClr val="accent2"/>
                </a:solidFill>
              </a:defRPr>
            </a:lvl6pPr>
            <a:lvl7pPr marL="0" indent="0" algn="l">
              <a:lnSpc>
                <a:spcPct val="107000"/>
              </a:lnSpc>
              <a:spcBef>
                <a:spcPts val="0"/>
              </a:spcBef>
              <a:buNone/>
              <a:defRPr sz="1133" i="1">
                <a:solidFill>
                  <a:schemeClr val="accent2"/>
                </a:solidFill>
              </a:defRPr>
            </a:lvl7pPr>
            <a:lvl8pPr marL="0" indent="0" algn="l">
              <a:lnSpc>
                <a:spcPct val="107000"/>
              </a:lnSpc>
              <a:spcBef>
                <a:spcPts val="0"/>
              </a:spcBef>
              <a:buNone/>
              <a:defRPr sz="1133" i="1">
                <a:solidFill>
                  <a:schemeClr val="accent2"/>
                </a:solidFill>
                <a:latin typeface="+mj-lt"/>
              </a:defRPr>
            </a:lvl8pPr>
            <a:lvl9pPr marL="0" indent="0" algn="l">
              <a:lnSpc>
                <a:spcPct val="107000"/>
              </a:lnSpc>
              <a:spcBef>
                <a:spcPts val="0"/>
              </a:spcBef>
              <a:buNone/>
              <a:defRPr sz="1133" i="1">
                <a:solidFill>
                  <a:schemeClr val="accent2"/>
                </a:solidFill>
                <a:latin typeface="+mj-lt"/>
              </a:defRPr>
            </a:lvl9pPr>
          </a:lstStyle>
          <a:p>
            <a:r>
              <a:rPr lang="de-DE"/>
              <a:t>Vorname Name oder weitere Informationen</a:t>
            </a:r>
          </a:p>
          <a:p>
            <a:pPr lvl="1"/>
            <a:r>
              <a:rPr lang="de-DE"/>
              <a:t>2</a:t>
            </a:r>
          </a:p>
          <a:p>
            <a:pPr lvl="2"/>
            <a:r>
              <a:rPr lang="de-DE"/>
              <a:t>3</a:t>
            </a:r>
          </a:p>
          <a:p>
            <a:pPr lvl="3"/>
            <a:r>
              <a:rPr lang="de-DE"/>
              <a:t>4</a:t>
            </a:r>
          </a:p>
          <a:p>
            <a:pPr lvl="4"/>
            <a:r>
              <a:rPr lang="de-DE"/>
              <a:t>5</a:t>
            </a:r>
          </a:p>
          <a:p>
            <a:pPr lvl="5"/>
            <a:r>
              <a:rPr lang="de-DE"/>
              <a:t>6</a:t>
            </a:r>
          </a:p>
          <a:p>
            <a:pPr lvl="6"/>
            <a:r>
              <a:rPr lang="de-DE"/>
              <a:t>7</a:t>
            </a:r>
          </a:p>
          <a:p>
            <a:pPr lvl="7"/>
            <a:r>
              <a:rPr lang="de-DE"/>
              <a:t>8</a:t>
            </a:r>
          </a:p>
          <a:p>
            <a:pPr lvl="8"/>
            <a:r>
              <a:rPr lang="de-DE"/>
              <a:t>9</a:t>
            </a:r>
            <a:endParaRPr lang="en-US"/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E056DBC0-BF20-4B32-8484-42044AF8F7B0}"/>
              </a:ext>
            </a:extLst>
          </p:cNvPr>
          <p:cNvGrpSpPr/>
          <p:nvPr userDrawn="1"/>
        </p:nvGrpSpPr>
        <p:grpSpPr>
          <a:xfrm>
            <a:off x="1083720" y="5096994"/>
            <a:ext cx="2160000" cy="606628"/>
            <a:chOff x="-5709525" y="-5645283"/>
            <a:chExt cx="19213689" cy="5396089"/>
          </a:xfrm>
        </p:grpSpPr>
        <p:pic>
          <p:nvPicPr>
            <p:cNvPr id="34" name="Grafik 33">
              <a:extLst>
                <a:ext uri="{FF2B5EF4-FFF2-40B4-BE49-F238E27FC236}">
                  <a16:creationId xmlns:a16="http://schemas.microsoft.com/office/drawing/2014/main" id="{13AE2E17-46B1-48B5-BAF2-6952EDE43D7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5709525" y="-5645283"/>
              <a:ext cx="19213689" cy="5396089"/>
            </a:xfrm>
            <a:prstGeom prst="rect">
              <a:avLst/>
            </a:prstGeom>
          </p:spPr>
        </p:pic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26C147E0-20AA-4FBF-B7CF-407CF5E885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709525" y="-5645283"/>
              <a:ext cx="1287463" cy="1493837"/>
            </a:xfrm>
            <a:custGeom>
              <a:avLst/>
              <a:gdLst>
                <a:gd name="T0" fmla="*/ 86 w 114"/>
                <a:gd name="T1" fmla="*/ 0 h 132"/>
                <a:gd name="T2" fmla="*/ 1 w 114"/>
                <a:gd name="T3" fmla="*/ 20 h 132"/>
                <a:gd name="T4" fmla="*/ 0 w 114"/>
                <a:gd name="T5" fmla="*/ 31 h 132"/>
                <a:gd name="T6" fmla="*/ 31 w 114"/>
                <a:gd name="T7" fmla="*/ 132 h 132"/>
                <a:gd name="T8" fmla="*/ 114 w 114"/>
                <a:gd name="T9" fmla="*/ 115 h 132"/>
                <a:gd name="T10" fmla="*/ 114 w 114"/>
                <a:gd name="T11" fmla="*/ 106 h 132"/>
                <a:gd name="T12" fmla="*/ 94 w 114"/>
                <a:gd name="T13" fmla="*/ 0 h 132"/>
                <a:gd name="T14" fmla="*/ 86 w 114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32">
                  <a:moveTo>
                    <a:pt x="86" y="0"/>
                  </a:moveTo>
                  <a:cubicBezTo>
                    <a:pt x="52" y="0"/>
                    <a:pt x="25" y="8"/>
                    <a:pt x="1" y="20"/>
                  </a:cubicBezTo>
                  <a:cubicBezTo>
                    <a:pt x="1" y="23"/>
                    <a:pt x="0" y="25"/>
                    <a:pt x="0" y="31"/>
                  </a:cubicBezTo>
                  <a:cubicBezTo>
                    <a:pt x="0" y="56"/>
                    <a:pt x="18" y="102"/>
                    <a:pt x="31" y="132"/>
                  </a:cubicBezTo>
                  <a:cubicBezTo>
                    <a:pt x="56" y="132"/>
                    <a:pt x="92" y="125"/>
                    <a:pt x="114" y="115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81"/>
                    <a:pt x="113" y="24"/>
                    <a:pt x="94" y="0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sz="2400"/>
            </a:p>
          </p:txBody>
        </p: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C0C38FC0-D274-45E3-AD26-A2F4248E7BA2}"/>
              </a:ext>
            </a:extLst>
          </p:cNvPr>
          <p:cNvGrpSpPr/>
          <p:nvPr userDrawn="1"/>
        </p:nvGrpSpPr>
        <p:grpSpPr>
          <a:xfrm flipH="1">
            <a:off x="-3840000" y="313267"/>
            <a:ext cx="3360000" cy="4472091"/>
            <a:chOff x="-2880000" y="1428750"/>
            <a:chExt cx="2520000" cy="3354068"/>
          </a:xfrm>
        </p:grpSpPr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2260820E-5337-4DBD-B08D-6B89F638E87D}"/>
                </a:ext>
              </a:extLst>
            </p:cNvPr>
            <p:cNvSpPr txBox="1"/>
            <p:nvPr userDrawn="1"/>
          </p:nvSpPr>
          <p:spPr>
            <a:xfrm flipH="1">
              <a:off x="-2880000" y="1428750"/>
              <a:ext cx="2520000" cy="3350715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108000" tIns="54000" rIns="108000" bIns="54000" rtlCol="0">
              <a:spAutoFit/>
            </a:bodyPr>
            <a:lstStyle/>
            <a:p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Hintergrundbild einfügen:</a:t>
              </a:r>
            </a:p>
            <a:p>
              <a:pPr marL="153596" indent="-153596">
                <a:buAutoNum type="arabicPeriod"/>
              </a:pPr>
              <a:r>
                <a:rPr lang="de-DE" sz="1133" b="0" kern="600" baseline="0">
                  <a:solidFill>
                    <a:schemeClr val="bg1"/>
                  </a:solidFill>
                </a:rPr>
                <a:t>Rechtsklick &gt; Hintergrund formatieren…</a:t>
              </a:r>
            </a:p>
            <a:p>
              <a:pPr marL="153596" indent="-153596">
                <a:buAutoNum type="arabicPeriod"/>
              </a:pPr>
              <a:r>
                <a:rPr lang="de-DE" sz="1133" b="0" kern="600" baseline="0">
                  <a:solidFill>
                    <a:schemeClr val="bg1"/>
                  </a:solidFill>
                </a:rPr>
                <a:t>Aktivieren Sie «Bild- oder Texturfüllung» </a:t>
              </a:r>
              <a:br>
                <a:rPr lang="de-DE" sz="1133" b="0" kern="600" baseline="0">
                  <a:solidFill>
                    <a:schemeClr val="bg1"/>
                  </a:solidFill>
                </a:rPr>
              </a:br>
              <a:r>
                <a:rPr lang="de-DE" sz="1133" b="0" kern="600" baseline="0">
                  <a:solidFill>
                    <a:schemeClr val="bg1"/>
                  </a:solidFill>
                </a:rPr>
                <a:t>und wählen Sie dort das Bild aus</a:t>
              </a:r>
              <a:r>
                <a:rPr lang="de-CH" sz="1133" b="0" kern="600" baseline="0">
                  <a:solidFill>
                    <a:schemeClr val="bg1"/>
                  </a:solidFill>
                </a:rPr>
                <a:t>.</a:t>
              </a:r>
            </a:p>
            <a:p>
              <a:pPr marL="153596" indent="-153596">
                <a:buAutoNum type="arabicPeriod"/>
              </a:pPr>
              <a:r>
                <a:rPr lang="de-CH" sz="1133" b="0" kern="600" baseline="0">
                  <a:solidFill>
                    <a:schemeClr val="bg1"/>
                  </a:solidFill>
                </a:rPr>
                <a:t>Bei «Offset» können Sie das Bild verschieben. Achten Sie darauf, dass Sie das Bild nicht verziehen – Wenn bei «Oben» der Wert erhöht wird, muss der Wert bei «Unten» entsprechend verringert werden.</a:t>
              </a: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</p:txBody>
        </p:sp>
        <p:pic>
          <p:nvPicPr>
            <p:cNvPr id="27" name="Grafik 26">
              <a:extLst>
                <a:ext uri="{FF2B5EF4-FFF2-40B4-BE49-F238E27FC236}">
                  <a16:creationId xmlns:a16="http://schemas.microsoft.com/office/drawing/2014/main" id="{E2428862-A05B-4FA0-A1E5-5E0F84445CA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81" t="-6092" r="-2781" b="49412"/>
            <a:stretch/>
          </p:blipFill>
          <p:spPr>
            <a:xfrm flipH="1">
              <a:off x="-2445530" y="2444043"/>
              <a:ext cx="1870234" cy="2338775"/>
            </a:xfrm>
            <a:prstGeom prst="rect">
              <a:avLst/>
            </a:prstGeom>
          </p:spPr>
        </p:pic>
      </p:grpSp>
      <p:sp>
        <p:nvSpPr>
          <p:cNvPr id="30" name="Rechteck 29">
            <a:extLst>
              <a:ext uri="{FF2B5EF4-FFF2-40B4-BE49-F238E27FC236}">
                <a16:creationId xmlns:a16="http://schemas.microsoft.com/office/drawing/2014/main" id="{C27E6129-1D7E-42BC-831C-EE834F0B93C8}"/>
              </a:ext>
            </a:extLst>
          </p:cNvPr>
          <p:cNvSpPr/>
          <p:nvPr userDrawn="1"/>
        </p:nvSpPr>
        <p:spPr>
          <a:xfrm>
            <a:off x="-3552938" y="3462674"/>
            <a:ext cx="2431249" cy="264577"/>
          </a:xfrm>
          <a:prstGeom prst="rect">
            <a:avLst/>
          </a:prstGeom>
          <a:noFill/>
          <a:ln w="254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37654D1E-5997-4C4B-A38C-277D55138E88}"/>
              </a:ext>
            </a:extLst>
          </p:cNvPr>
          <p:cNvSpPr/>
          <p:nvPr userDrawn="1"/>
        </p:nvSpPr>
        <p:spPr>
          <a:xfrm>
            <a:off x="-3552938" y="4187825"/>
            <a:ext cx="2431249" cy="539143"/>
          </a:xfrm>
          <a:prstGeom prst="rect">
            <a:avLst/>
          </a:prstGeom>
          <a:noFill/>
          <a:ln w="254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pic>
        <p:nvPicPr>
          <p:cNvPr id="5" name="Grafik 4" descr="Ein Bild, das Tisch enthält.&#10;&#10;Automatisch generierte Beschreibung">
            <a:extLst>
              <a:ext uri="{FF2B5EF4-FFF2-40B4-BE49-F238E27FC236}">
                <a16:creationId xmlns:a16="http://schemas.microsoft.com/office/drawing/2014/main" id="{4D101762-5506-4C6F-8771-1539C3636F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49163"/>
          <a:stretch/>
        </p:blipFill>
        <p:spPr>
          <a:xfrm>
            <a:off x="-7094143" y="1323930"/>
            <a:ext cx="3051880" cy="2275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2600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820">
          <p15:clr>
            <a:srgbClr val="000000"/>
          </p15:clr>
        </p15:guide>
        <p15:guide id="3" orient="horz" pos="2690">
          <p15:clr>
            <a:srgbClr val="FBAE40"/>
          </p15:clr>
        </p15:guide>
        <p15:guide id="5" pos="2513">
          <p15:clr>
            <a:srgbClr val="000000"/>
          </p15:clr>
        </p15:guide>
        <p15:guide id="6" orient="horz" pos="1620">
          <p15:clr>
            <a:srgbClr val="000000"/>
          </p15:clr>
        </p15:guide>
        <p15:guide id="7" orient="horz" pos="1992">
          <p15:clr>
            <a:srgbClr val="000000"/>
          </p15:clr>
        </p15:guide>
        <p15:guide id="8" pos="529">
          <p15:clr>
            <a:srgbClr val="00000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CF2C24B5-A2EA-4F8B-90E6-4C26AD3B85C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1F3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FA6967E-75F1-4E35-8305-5B8BB6AA79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3835" y="1"/>
            <a:ext cx="7066164" cy="6857999"/>
          </a:xfrm>
        </p:spPr>
        <p:txBody>
          <a:bodyPr tIns="0" bIns="208800"/>
          <a:lstStyle>
            <a:lvl1pPr>
              <a:defRPr sz="4067"/>
            </a:lvl1pPr>
          </a:lstStyle>
          <a:p>
            <a:r>
              <a:rPr lang="de-DE"/>
              <a:t>Agenda</a:t>
            </a:r>
            <a:endParaRPr lang="de-CH"/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545479B9-BFB0-4008-B700-1769E0ED6336}"/>
              </a:ext>
            </a:extLst>
          </p:cNvPr>
          <p:cNvGrpSpPr/>
          <p:nvPr userDrawn="1"/>
        </p:nvGrpSpPr>
        <p:grpSpPr>
          <a:xfrm>
            <a:off x="10136049" y="559791"/>
            <a:ext cx="1440000" cy="404419"/>
            <a:chOff x="-5709525" y="-5645283"/>
            <a:chExt cx="19213689" cy="5396089"/>
          </a:xfrm>
        </p:grpSpPr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EAF8C689-1176-46B9-9104-5C81517A453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5709525" y="-5645283"/>
              <a:ext cx="19213689" cy="5396089"/>
            </a:xfrm>
            <a:prstGeom prst="rect">
              <a:avLst/>
            </a:prstGeom>
          </p:spPr>
        </p:pic>
        <p:sp>
          <p:nvSpPr>
            <p:cNvPr id="16" name="Freeform 26">
              <a:extLst>
                <a:ext uri="{FF2B5EF4-FFF2-40B4-BE49-F238E27FC236}">
                  <a16:creationId xmlns:a16="http://schemas.microsoft.com/office/drawing/2014/main" id="{9F7BFAB3-23B5-4A51-B1C8-A53E0DFBA3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709525" y="-5645283"/>
              <a:ext cx="1287463" cy="1493837"/>
            </a:xfrm>
            <a:custGeom>
              <a:avLst/>
              <a:gdLst>
                <a:gd name="T0" fmla="*/ 86 w 114"/>
                <a:gd name="T1" fmla="*/ 0 h 132"/>
                <a:gd name="T2" fmla="*/ 1 w 114"/>
                <a:gd name="T3" fmla="*/ 20 h 132"/>
                <a:gd name="T4" fmla="*/ 0 w 114"/>
                <a:gd name="T5" fmla="*/ 31 h 132"/>
                <a:gd name="T6" fmla="*/ 31 w 114"/>
                <a:gd name="T7" fmla="*/ 132 h 132"/>
                <a:gd name="T8" fmla="*/ 114 w 114"/>
                <a:gd name="T9" fmla="*/ 115 h 132"/>
                <a:gd name="T10" fmla="*/ 114 w 114"/>
                <a:gd name="T11" fmla="*/ 106 h 132"/>
                <a:gd name="T12" fmla="*/ 94 w 114"/>
                <a:gd name="T13" fmla="*/ 0 h 132"/>
                <a:gd name="T14" fmla="*/ 86 w 114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32">
                  <a:moveTo>
                    <a:pt x="86" y="0"/>
                  </a:moveTo>
                  <a:cubicBezTo>
                    <a:pt x="52" y="0"/>
                    <a:pt x="25" y="8"/>
                    <a:pt x="1" y="20"/>
                  </a:cubicBezTo>
                  <a:cubicBezTo>
                    <a:pt x="1" y="23"/>
                    <a:pt x="0" y="25"/>
                    <a:pt x="0" y="31"/>
                  </a:cubicBezTo>
                  <a:cubicBezTo>
                    <a:pt x="0" y="56"/>
                    <a:pt x="18" y="102"/>
                    <a:pt x="31" y="132"/>
                  </a:cubicBezTo>
                  <a:cubicBezTo>
                    <a:pt x="56" y="132"/>
                    <a:pt x="92" y="125"/>
                    <a:pt x="114" y="115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81"/>
                    <a:pt x="113" y="24"/>
                    <a:pt x="94" y="0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sz="2400"/>
            </a:p>
          </p:txBody>
        </p:sp>
      </p:grp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13E4B5F-C8DE-46D2-B2BE-2AD0DFA3A8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80000" y="1"/>
            <a:ext cx="3896051" cy="6858000"/>
          </a:xfrm>
        </p:spPr>
        <p:txBody>
          <a:bodyPr bIns="180000" anchor="ctr" anchorCtr="0"/>
          <a:lstStyle>
            <a:lvl1pPr marL="307192" indent="-307192">
              <a:lnSpc>
                <a:spcPts val="3333"/>
              </a:lnSpc>
              <a:spcBef>
                <a:spcPts val="0"/>
              </a:spcBef>
              <a:buFont typeface="+mj-lt"/>
              <a:buAutoNum type="arabicPeriod"/>
              <a:defRPr>
                <a:solidFill>
                  <a:schemeClr val="accent2"/>
                </a:solidFill>
              </a:defRPr>
            </a:lvl1pPr>
            <a:lvl2pPr marL="0" indent="0">
              <a:lnSpc>
                <a:spcPts val="3333"/>
              </a:lnSpc>
              <a:spcBef>
                <a:spcPts val="0"/>
              </a:spcBef>
              <a:buFont typeface="+mj-lt"/>
              <a:buNone/>
              <a:defRPr>
                <a:solidFill>
                  <a:schemeClr val="accent2"/>
                </a:solidFill>
              </a:defRPr>
            </a:lvl2pPr>
            <a:lvl3pPr marL="0" indent="0">
              <a:lnSpc>
                <a:spcPts val="3333"/>
              </a:lnSpc>
              <a:spcBef>
                <a:spcPts val="0"/>
              </a:spcBef>
              <a:buFont typeface="+mj-lt"/>
              <a:buNone/>
              <a:defRPr>
                <a:solidFill>
                  <a:schemeClr val="accent2"/>
                </a:solidFill>
              </a:defRPr>
            </a:lvl3pPr>
            <a:lvl4pPr marL="0" indent="0">
              <a:lnSpc>
                <a:spcPts val="3333"/>
              </a:lnSpc>
              <a:spcBef>
                <a:spcPts val="0"/>
              </a:spcBef>
              <a:buFont typeface="+mj-lt"/>
              <a:buNone/>
              <a:defRPr>
                <a:solidFill>
                  <a:schemeClr val="accent2"/>
                </a:solidFill>
              </a:defRPr>
            </a:lvl4pPr>
            <a:lvl5pPr marL="0" indent="0">
              <a:lnSpc>
                <a:spcPts val="3333"/>
              </a:lnSpc>
              <a:spcBef>
                <a:spcPts val="0"/>
              </a:spcBef>
              <a:buFont typeface="+mj-lt"/>
              <a:buNone/>
              <a:defRPr>
                <a:solidFill>
                  <a:schemeClr val="accent2"/>
                </a:solidFill>
              </a:defRPr>
            </a:lvl5pPr>
            <a:lvl6pPr>
              <a:spcBef>
                <a:spcPts val="0"/>
              </a:spcBef>
              <a:defRPr>
                <a:solidFill>
                  <a:schemeClr val="accent2"/>
                </a:solidFill>
                <a:latin typeface="+mn-lt"/>
              </a:defRPr>
            </a:lvl6pPr>
            <a:lvl7pPr>
              <a:lnSpc>
                <a:spcPts val="3000"/>
              </a:lnSpc>
              <a:defRPr sz="2133">
                <a:solidFill>
                  <a:schemeClr val="accent2"/>
                </a:solidFill>
                <a:latin typeface="+mn-lt"/>
              </a:defRPr>
            </a:lvl7pPr>
            <a:lvl8pPr>
              <a:lnSpc>
                <a:spcPts val="3000"/>
              </a:lnSpc>
              <a:defRPr sz="2133"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007CD87-217F-4A01-A968-CF5B9074BDAC}"/>
              </a:ext>
            </a:extLst>
          </p:cNvPr>
          <p:cNvSpPr/>
          <p:nvPr userDrawn="1"/>
        </p:nvSpPr>
        <p:spPr>
          <a:xfrm>
            <a:off x="0" y="0"/>
            <a:ext cx="1248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</p:spTree>
    <p:extLst>
      <p:ext uri="{BB962C8B-B14F-4D97-AF65-F5344CB8AC3E}">
        <p14:creationId xmlns:p14="http://schemas.microsoft.com/office/powerpoint/2010/main" val="33847789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00000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00268912-FEFC-4247-9C07-44CCCAB26C2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1F3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0C029A0E-5C42-4BF6-96DD-F7830E2CE152}"/>
              </a:ext>
            </a:extLst>
          </p:cNvPr>
          <p:cNvSpPr/>
          <p:nvPr userDrawn="1"/>
        </p:nvSpPr>
        <p:spPr>
          <a:xfrm>
            <a:off x="0" y="313267"/>
            <a:ext cx="12192000" cy="8974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7D717600-E09D-4A92-98DA-034D4D89AE3A}"/>
              </a:ext>
            </a:extLst>
          </p:cNvPr>
          <p:cNvSpPr/>
          <p:nvPr userDrawn="1"/>
        </p:nvSpPr>
        <p:spPr>
          <a:xfrm>
            <a:off x="0" y="313267"/>
            <a:ext cx="124800" cy="8974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8B47D779-AC0B-4D3E-B696-5895E77E137B}"/>
              </a:ext>
            </a:extLst>
          </p:cNvPr>
          <p:cNvGrpSpPr/>
          <p:nvPr userDrawn="1"/>
        </p:nvGrpSpPr>
        <p:grpSpPr>
          <a:xfrm>
            <a:off x="10136049" y="559791"/>
            <a:ext cx="1440000" cy="404419"/>
            <a:chOff x="-5709525" y="-5645283"/>
            <a:chExt cx="19213689" cy="5396089"/>
          </a:xfrm>
        </p:grpSpPr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2D7ADE88-1C00-48E1-9BFB-23F474CA4B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5709525" y="-5645283"/>
              <a:ext cx="19213689" cy="5396089"/>
            </a:xfrm>
            <a:prstGeom prst="rect">
              <a:avLst/>
            </a:prstGeom>
          </p:spPr>
        </p:pic>
        <p:sp>
          <p:nvSpPr>
            <p:cNvPr id="31" name="Freeform 26">
              <a:extLst>
                <a:ext uri="{FF2B5EF4-FFF2-40B4-BE49-F238E27FC236}">
                  <a16:creationId xmlns:a16="http://schemas.microsoft.com/office/drawing/2014/main" id="{1BC43C88-D662-4F8A-AF03-7A067C396F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709525" y="-5645283"/>
              <a:ext cx="1287463" cy="1493837"/>
            </a:xfrm>
            <a:custGeom>
              <a:avLst/>
              <a:gdLst>
                <a:gd name="T0" fmla="*/ 86 w 114"/>
                <a:gd name="T1" fmla="*/ 0 h 132"/>
                <a:gd name="T2" fmla="*/ 1 w 114"/>
                <a:gd name="T3" fmla="*/ 20 h 132"/>
                <a:gd name="T4" fmla="*/ 0 w 114"/>
                <a:gd name="T5" fmla="*/ 31 h 132"/>
                <a:gd name="T6" fmla="*/ 31 w 114"/>
                <a:gd name="T7" fmla="*/ 132 h 132"/>
                <a:gd name="T8" fmla="*/ 114 w 114"/>
                <a:gd name="T9" fmla="*/ 115 h 132"/>
                <a:gd name="T10" fmla="*/ 114 w 114"/>
                <a:gd name="T11" fmla="*/ 106 h 132"/>
                <a:gd name="T12" fmla="*/ 94 w 114"/>
                <a:gd name="T13" fmla="*/ 0 h 132"/>
                <a:gd name="T14" fmla="*/ 86 w 114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32">
                  <a:moveTo>
                    <a:pt x="86" y="0"/>
                  </a:moveTo>
                  <a:cubicBezTo>
                    <a:pt x="52" y="0"/>
                    <a:pt x="25" y="8"/>
                    <a:pt x="1" y="20"/>
                  </a:cubicBezTo>
                  <a:cubicBezTo>
                    <a:pt x="1" y="23"/>
                    <a:pt x="0" y="25"/>
                    <a:pt x="0" y="31"/>
                  </a:cubicBezTo>
                  <a:cubicBezTo>
                    <a:pt x="0" y="56"/>
                    <a:pt x="18" y="102"/>
                    <a:pt x="31" y="132"/>
                  </a:cubicBezTo>
                  <a:cubicBezTo>
                    <a:pt x="56" y="132"/>
                    <a:pt x="92" y="125"/>
                    <a:pt x="114" y="115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81"/>
                    <a:pt x="113" y="24"/>
                    <a:pt x="94" y="0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sz="240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eingeben</a:t>
            </a:r>
            <a:endParaRPr lang="en-US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89AFE0F6-ACCC-4CF1-86F5-F83EB1F99F37}"/>
              </a:ext>
            </a:extLst>
          </p:cNvPr>
          <p:cNvGrpSpPr/>
          <p:nvPr userDrawn="1"/>
        </p:nvGrpSpPr>
        <p:grpSpPr>
          <a:xfrm>
            <a:off x="-3840000" y="1824001"/>
            <a:ext cx="3360000" cy="4118935"/>
            <a:chOff x="9144000" y="1419149"/>
            <a:chExt cx="2880000" cy="3089201"/>
          </a:xfrm>
          <a:solidFill>
            <a:schemeClr val="accent2"/>
          </a:solidFill>
        </p:grpSpPr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BB856FB6-B5C1-4CC0-91F0-E0894158F7EE}"/>
                </a:ext>
              </a:extLst>
            </p:cNvPr>
            <p:cNvSpPr txBox="1"/>
            <p:nvPr userDrawn="1"/>
          </p:nvSpPr>
          <p:spPr>
            <a:xfrm flipH="1">
              <a:off x="9144000" y="1419149"/>
              <a:ext cx="2880000" cy="3089201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108000" tIns="54000" rIns="108000" bIns="54000" rtlCol="0">
              <a:spAutoFit/>
            </a:bodyPr>
            <a:lstStyle/>
            <a:p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Texte richtig formatieren:</a:t>
              </a:r>
            </a:p>
            <a:p>
              <a:r>
                <a:rPr lang="de-DE" sz="1133" b="0" kern="600">
                  <a:solidFill>
                    <a:schemeClr val="bg1"/>
                  </a:solidFill>
                  <a:latin typeface="+mn-lt"/>
                </a:rPr>
                <a:t>Texte werden über die »Textebenen« richtig formatiert. Setzen Sie den Cursor in den gewünschten Absatz und wechseln Sie unter </a:t>
              </a:r>
              <a:br>
                <a:rPr lang="de-DE" sz="1133" b="0" kern="600">
                  <a:solidFill>
                    <a:schemeClr val="bg1"/>
                  </a:solidFill>
                  <a:latin typeface="+mn-lt"/>
                </a:rPr>
              </a:br>
              <a:r>
                <a:rPr lang="de-DE" sz="1133" b="0" kern="600">
                  <a:solidFill>
                    <a:schemeClr val="bg1"/>
                  </a:solidFill>
                  <a:latin typeface="+mn-lt"/>
                </a:rPr>
                <a:t>»Start -&gt; Absatz« eine Ebene weiter bzw. zurück.</a:t>
              </a:r>
              <a:br>
                <a:rPr lang="de-DE" sz="1133" b="0" kern="600">
                  <a:solidFill>
                    <a:schemeClr val="bg1"/>
                  </a:solidFill>
                  <a:latin typeface="+mn-lt"/>
                </a:rPr>
              </a:br>
              <a:br>
                <a:rPr lang="de-DE" sz="1133" b="0" kern="600">
                  <a:solidFill>
                    <a:schemeClr val="bg1"/>
                  </a:solidFill>
                  <a:latin typeface="+mn-lt"/>
                </a:rPr>
              </a:br>
              <a:br>
                <a:rPr lang="de-DE" sz="1133" b="0" kern="600">
                  <a:solidFill>
                    <a:schemeClr val="bg1"/>
                  </a:solidFill>
                  <a:latin typeface="+mn-lt"/>
                </a:rPr>
              </a:br>
              <a:br>
                <a:rPr lang="de-DE" sz="1133" b="0" kern="600">
                  <a:solidFill>
                    <a:schemeClr val="bg1"/>
                  </a:solidFill>
                  <a:latin typeface="+mn-lt"/>
                </a:rPr>
              </a:br>
              <a:br>
                <a:rPr lang="de-DE" sz="1133" b="0" kern="600">
                  <a:solidFill>
                    <a:schemeClr val="bg1"/>
                  </a:solidFill>
                  <a:latin typeface="+mn-lt"/>
                </a:rPr>
              </a:br>
              <a:endParaRPr lang="de-DE" sz="1133" b="0" kern="600">
                <a:solidFill>
                  <a:schemeClr val="bg1"/>
                </a:solidFill>
                <a:latin typeface="+mn-lt"/>
              </a:endParaRPr>
            </a:p>
            <a:p>
              <a:endParaRPr lang="de-DE" sz="1133" b="0" kern="600">
                <a:solidFill>
                  <a:schemeClr val="bg1"/>
                </a:solidFill>
                <a:latin typeface="+mn-lt"/>
              </a:endParaRPr>
            </a:p>
            <a:p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Diese Vorgehensweise gilt für</a:t>
              </a:r>
              <a:r>
                <a:rPr lang="de-DE" sz="1133" b="0" kern="600" baseline="0">
                  <a:solidFill>
                    <a:schemeClr val="bg1"/>
                  </a:solidFill>
                  <a:latin typeface="+mj-lt"/>
                </a:rPr>
                <a:t> sämtliche enthaltenen </a:t>
              </a:r>
              <a:r>
                <a:rPr lang="de-DE" sz="1133" b="0" kern="600" baseline="0" err="1">
                  <a:solidFill>
                    <a:schemeClr val="bg1"/>
                  </a:solidFill>
                  <a:latin typeface="+mj-lt"/>
                </a:rPr>
                <a:t>Layoutmaster</a:t>
              </a:r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.</a:t>
              </a:r>
            </a:p>
            <a:p>
              <a:endParaRPr lang="de-DE" sz="1133" b="0" kern="600">
                <a:solidFill>
                  <a:schemeClr val="bg1"/>
                </a:solidFill>
                <a:latin typeface="+mj-lt"/>
              </a:endParaRPr>
            </a:p>
            <a:p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Hier enthalten:</a:t>
              </a:r>
            </a:p>
            <a:p>
              <a:r>
                <a:rPr lang="de-DE" sz="1133" b="0" kern="600">
                  <a:solidFill>
                    <a:schemeClr val="bg1"/>
                  </a:solidFill>
                  <a:latin typeface="+mn-lt"/>
                </a:rPr>
                <a:t>Ebene</a:t>
              </a:r>
              <a:r>
                <a:rPr lang="de-DE" sz="1133" b="0" kern="600" baseline="0">
                  <a:solidFill>
                    <a:schemeClr val="bg1"/>
                  </a:solidFill>
                  <a:latin typeface="+mn-lt"/>
                </a:rPr>
                <a:t> 1 = Normaler Text</a:t>
              </a:r>
            </a:p>
            <a:p>
              <a:r>
                <a:rPr lang="de-DE" sz="1133" b="0" kern="600" baseline="0">
                  <a:solidFill>
                    <a:schemeClr val="bg1"/>
                  </a:solidFill>
                  <a:latin typeface="+mn-lt"/>
                </a:rPr>
                <a:t>Ebene 2 = Auflistung</a:t>
              </a:r>
            </a:p>
            <a:p>
              <a:r>
                <a:rPr lang="de-DE" sz="1133" b="0" kern="600" baseline="0">
                  <a:solidFill>
                    <a:schemeClr val="bg1"/>
                  </a:solidFill>
                  <a:latin typeface="+mn-lt"/>
                </a:rPr>
                <a:t>Ebene 3 = Auflistung, Unterpunkt</a:t>
              </a:r>
            </a:p>
            <a:p>
              <a:r>
                <a:rPr lang="de-DE" sz="1133" b="0" kern="600" baseline="0">
                  <a:solidFill>
                    <a:schemeClr val="bg1"/>
                  </a:solidFill>
                  <a:latin typeface="+mn-lt"/>
                </a:rPr>
                <a:t>Ebene 4 = Nummerierung</a:t>
              </a:r>
            </a:p>
            <a:p>
              <a:r>
                <a:rPr lang="de-DE" sz="1133" b="0" kern="600" baseline="0">
                  <a:solidFill>
                    <a:schemeClr val="bg1"/>
                  </a:solidFill>
                  <a:latin typeface="+mn-lt"/>
                </a:rPr>
                <a:t>Ebene 5 = Nummerierung, Unterpunkt</a:t>
              </a:r>
            </a:p>
            <a:p>
              <a:r>
                <a:rPr lang="de-DE" sz="1133" b="0" kern="600" baseline="0">
                  <a:solidFill>
                    <a:schemeClr val="bg1"/>
                  </a:solidFill>
                  <a:latin typeface="+mn-lt"/>
                </a:rPr>
                <a:t>Ebene 6 = Untertitel mit Abstand</a:t>
              </a:r>
            </a:p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133" b="0" kern="600" baseline="0">
                  <a:solidFill>
                    <a:schemeClr val="bg1"/>
                  </a:solidFill>
                  <a:latin typeface="+mn-lt"/>
                </a:rPr>
                <a:t>Ebene 7 = Kleiner Text, fett (Legenden-Titel)</a:t>
              </a:r>
              <a:endParaRPr lang="de-CH" sz="1133" b="0" kern="600">
                <a:solidFill>
                  <a:schemeClr val="bg1"/>
                </a:solidFill>
                <a:latin typeface="+mn-lt"/>
              </a:endParaRPr>
            </a:p>
            <a:p>
              <a:r>
                <a:rPr lang="de-DE" sz="1133" b="0" kern="600" baseline="0">
                  <a:solidFill>
                    <a:schemeClr val="bg1"/>
                  </a:solidFill>
                  <a:latin typeface="+mn-lt"/>
                </a:rPr>
                <a:t>Ebene 8 = Kleiner Text (Legenden)</a:t>
              </a:r>
              <a:endParaRPr lang="de-CH" sz="1133" b="0" kern="600">
                <a:solidFill>
                  <a:schemeClr val="bg1"/>
                </a:solidFill>
                <a:latin typeface="+mn-lt"/>
              </a:endParaRPr>
            </a:p>
          </p:txBody>
        </p:sp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114AFEF1-0318-47F8-B6DA-D8E6F18A50A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44799" y="2169871"/>
              <a:ext cx="2521785" cy="638937"/>
            </a:xfrm>
            <a:prstGeom prst="rect">
              <a:avLst/>
            </a:prstGeom>
            <a:grpFill/>
          </p:spPr>
        </p:pic>
      </p:grp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2AA584E9-3012-4B24-A749-4A95E1A8940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14400" y="1824000"/>
            <a:ext cx="10961651" cy="441805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  <a:endParaRPr lang="de-CH"/>
          </a:p>
        </p:txBody>
      </p:sp>
      <p:sp>
        <p:nvSpPr>
          <p:cNvPr id="24" name="Fußzeilenplatzhalter 23">
            <a:extLst>
              <a:ext uri="{FF2B5EF4-FFF2-40B4-BE49-F238E27FC236}">
                <a16:creationId xmlns:a16="http://schemas.microsoft.com/office/drawing/2014/main" id="{493BFEA9-14F2-4437-91BF-3C8BD3D7D98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13835" y="6417600"/>
            <a:ext cx="9523765" cy="240000"/>
          </a:xfrm>
        </p:spPr>
        <p:txBody>
          <a:bodyPr/>
          <a:lstStyle>
            <a:lvl1pPr algn="l">
              <a:defRPr/>
            </a:lvl1pPr>
          </a:lstStyle>
          <a:p>
            <a:pPr algn="l"/>
            <a:endParaRPr lang="de-CH"/>
          </a:p>
        </p:txBody>
      </p:sp>
      <p:sp>
        <p:nvSpPr>
          <p:cNvPr id="25" name="Foliennummernplatzhalter 24">
            <a:extLst>
              <a:ext uri="{FF2B5EF4-FFF2-40B4-BE49-F238E27FC236}">
                <a16:creationId xmlns:a16="http://schemas.microsoft.com/office/drawing/2014/main" id="{B4913DF0-0D6F-4131-9FB3-13087EBD3A0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84BE2A-AF72-474C-A580-796179F45542}" type="slidenum">
              <a:rPr lang="de-CH" smtClean="0"/>
              <a:pPr/>
              <a:t>‹Nr.›</a:t>
            </a:fld>
            <a:endParaRPr lang="de-CH" kern="600"/>
          </a:p>
        </p:txBody>
      </p:sp>
    </p:spTree>
    <p:extLst>
      <p:ext uri="{BB962C8B-B14F-4D97-AF65-F5344CB8AC3E}">
        <p14:creationId xmlns:p14="http://schemas.microsoft.com/office/powerpoint/2010/main" val="12971475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B4D32F-122F-4D69-BA2D-ED0AABEF3798}" type="datetimeFigureOut">
              <a:rPr lang="de-DE" smtClean="0"/>
              <a:t>11.05.2023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F35C4-A9C7-4A18-8B91-2212F20329C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091760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>
            <a:extLst>
              <a:ext uri="{FF2B5EF4-FFF2-40B4-BE49-F238E27FC236}">
                <a16:creationId xmlns:a16="http://schemas.microsoft.com/office/drawing/2014/main" id="{CB042353-23B1-4231-9140-0703368876E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1F3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1433744D-B2F6-46E3-909C-E463B29BF7A3}"/>
              </a:ext>
            </a:extLst>
          </p:cNvPr>
          <p:cNvSpPr/>
          <p:nvPr userDrawn="1"/>
        </p:nvSpPr>
        <p:spPr>
          <a:xfrm>
            <a:off x="0" y="313267"/>
            <a:ext cx="12192000" cy="8974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AA960B82-D397-4876-B6B1-ECB853A3210D}"/>
              </a:ext>
            </a:extLst>
          </p:cNvPr>
          <p:cNvSpPr/>
          <p:nvPr userDrawn="1"/>
        </p:nvSpPr>
        <p:spPr>
          <a:xfrm>
            <a:off x="0" y="313267"/>
            <a:ext cx="124800" cy="8974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9C00F691-D5BB-4B02-9687-4FBD883954B2}"/>
              </a:ext>
            </a:extLst>
          </p:cNvPr>
          <p:cNvGrpSpPr/>
          <p:nvPr userDrawn="1"/>
        </p:nvGrpSpPr>
        <p:grpSpPr>
          <a:xfrm>
            <a:off x="10136049" y="559791"/>
            <a:ext cx="1440000" cy="404419"/>
            <a:chOff x="-5709525" y="-5645283"/>
            <a:chExt cx="19213689" cy="5396089"/>
          </a:xfrm>
        </p:grpSpPr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BBBB8581-2448-4EF8-B172-F3C645BB152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5709525" y="-5645283"/>
              <a:ext cx="19213689" cy="5396089"/>
            </a:xfrm>
            <a:prstGeom prst="rect">
              <a:avLst/>
            </a:prstGeom>
          </p:spPr>
        </p:pic>
        <p:sp>
          <p:nvSpPr>
            <p:cNvPr id="23" name="Freeform 26">
              <a:extLst>
                <a:ext uri="{FF2B5EF4-FFF2-40B4-BE49-F238E27FC236}">
                  <a16:creationId xmlns:a16="http://schemas.microsoft.com/office/drawing/2014/main" id="{72B5B87F-0459-411D-9A48-65B11E8799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709525" y="-5645283"/>
              <a:ext cx="1287463" cy="1493837"/>
            </a:xfrm>
            <a:custGeom>
              <a:avLst/>
              <a:gdLst>
                <a:gd name="T0" fmla="*/ 86 w 114"/>
                <a:gd name="T1" fmla="*/ 0 h 132"/>
                <a:gd name="T2" fmla="*/ 1 w 114"/>
                <a:gd name="T3" fmla="*/ 20 h 132"/>
                <a:gd name="T4" fmla="*/ 0 w 114"/>
                <a:gd name="T5" fmla="*/ 31 h 132"/>
                <a:gd name="T6" fmla="*/ 31 w 114"/>
                <a:gd name="T7" fmla="*/ 132 h 132"/>
                <a:gd name="T8" fmla="*/ 114 w 114"/>
                <a:gd name="T9" fmla="*/ 115 h 132"/>
                <a:gd name="T10" fmla="*/ 114 w 114"/>
                <a:gd name="T11" fmla="*/ 106 h 132"/>
                <a:gd name="T12" fmla="*/ 94 w 114"/>
                <a:gd name="T13" fmla="*/ 0 h 132"/>
                <a:gd name="T14" fmla="*/ 86 w 114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32">
                  <a:moveTo>
                    <a:pt x="86" y="0"/>
                  </a:moveTo>
                  <a:cubicBezTo>
                    <a:pt x="52" y="0"/>
                    <a:pt x="25" y="8"/>
                    <a:pt x="1" y="20"/>
                  </a:cubicBezTo>
                  <a:cubicBezTo>
                    <a:pt x="1" y="23"/>
                    <a:pt x="0" y="25"/>
                    <a:pt x="0" y="31"/>
                  </a:cubicBezTo>
                  <a:cubicBezTo>
                    <a:pt x="0" y="56"/>
                    <a:pt x="18" y="102"/>
                    <a:pt x="31" y="132"/>
                  </a:cubicBezTo>
                  <a:cubicBezTo>
                    <a:pt x="56" y="132"/>
                    <a:pt x="92" y="125"/>
                    <a:pt x="114" y="115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81"/>
                    <a:pt x="113" y="24"/>
                    <a:pt x="94" y="0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sz="240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eingeben</a:t>
            </a:r>
            <a:endParaRPr lang="en-US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5B4D4E7F-F213-44BF-8BFB-3B98D17FDD0B}"/>
              </a:ext>
            </a:extLst>
          </p:cNvPr>
          <p:cNvGrpSpPr/>
          <p:nvPr userDrawn="1"/>
        </p:nvGrpSpPr>
        <p:grpSpPr>
          <a:xfrm>
            <a:off x="-3840000" y="1824568"/>
            <a:ext cx="3360000" cy="3421565"/>
            <a:chOff x="9144000" y="1419149"/>
            <a:chExt cx="2880000" cy="2566174"/>
          </a:xfrm>
          <a:solidFill>
            <a:schemeClr val="accent2"/>
          </a:solidFill>
        </p:grpSpPr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21AE6EB8-90B9-48D9-A023-B49A4BEBF5F1}"/>
                </a:ext>
              </a:extLst>
            </p:cNvPr>
            <p:cNvSpPr txBox="1"/>
            <p:nvPr userDrawn="1"/>
          </p:nvSpPr>
          <p:spPr>
            <a:xfrm flipH="1">
              <a:off x="9144000" y="1419149"/>
              <a:ext cx="2880000" cy="2566174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108000" tIns="54000" rIns="108000" bIns="54000" rtlCol="0">
              <a:spAutoFit/>
            </a:bodyPr>
            <a:lstStyle/>
            <a:p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Texte richtig formatieren:</a:t>
              </a:r>
            </a:p>
            <a:p>
              <a:r>
                <a:rPr lang="de-DE" sz="1133" b="0" kern="600">
                  <a:solidFill>
                    <a:schemeClr val="bg1"/>
                  </a:solidFill>
                  <a:latin typeface="+mn-lt"/>
                </a:rPr>
                <a:t>Texte werden über die »Textebenen« richtig formatiert. Setzen Sie den Cursor in den gewünschten Absatz und wechseln Sie unter </a:t>
              </a:r>
              <a:br>
                <a:rPr lang="de-DE" sz="1133" b="0" kern="600">
                  <a:solidFill>
                    <a:schemeClr val="bg1"/>
                  </a:solidFill>
                  <a:latin typeface="+mn-lt"/>
                </a:rPr>
              </a:br>
              <a:r>
                <a:rPr lang="de-DE" sz="1133" b="0" kern="600">
                  <a:solidFill>
                    <a:schemeClr val="bg1"/>
                  </a:solidFill>
                  <a:latin typeface="+mn-lt"/>
                </a:rPr>
                <a:t>»Start -&gt; Absatz« eine Ebene weiter bzw. zurück.</a:t>
              </a:r>
              <a:br>
                <a:rPr lang="de-DE" sz="1133" b="0" kern="600">
                  <a:solidFill>
                    <a:schemeClr val="bg1"/>
                  </a:solidFill>
                  <a:latin typeface="+mn-lt"/>
                </a:rPr>
              </a:br>
              <a:br>
                <a:rPr lang="de-DE" sz="1133" b="0" kern="600">
                  <a:solidFill>
                    <a:schemeClr val="bg1"/>
                  </a:solidFill>
                  <a:latin typeface="+mn-lt"/>
                </a:rPr>
              </a:br>
              <a:br>
                <a:rPr lang="de-DE" sz="1133" b="0" kern="600">
                  <a:solidFill>
                    <a:schemeClr val="bg1"/>
                  </a:solidFill>
                  <a:latin typeface="+mn-lt"/>
                </a:rPr>
              </a:br>
              <a:br>
                <a:rPr lang="de-DE" sz="1133" b="0" kern="600">
                  <a:solidFill>
                    <a:schemeClr val="bg1"/>
                  </a:solidFill>
                  <a:latin typeface="+mn-lt"/>
                </a:rPr>
              </a:br>
              <a:br>
                <a:rPr lang="de-DE" sz="1133" b="0" kern="600">
                  <a:solidFill>
                    <a:schemeClr val="bg1"/>
                  </a:solidFill>
                  <a:latin typeface="+mn-lt"/>
                </a:rPr>
              </a:br>
              <a:endParaRPr lang="de-DE" sz="1133" b="0" kern="600">
                <a:solidFill>
                  <a:schemeClr val="bg1"/>
                </a:solidFill>
                <a:latin typeface="+mn-lt"/>
              </a:endParaRPr>
            </a:p>
            <a:p>
              <a:endParaRPr lang="de-DE" sz="1133" b="0" kern="600">
                <a:solidFill>
                  <a:schemeClr val="bg1"/>
                </a:solidFill>
                <a:latin typeface="+mn-lt"/>
              </a:endParaRPr>
            </a:p>
            <a:p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Diese Vorgehensweise gilt für</a:t>
              </a:r>
              <a:r>
                <a:rPr lang="de-DE" sz="1133" b="0" kern="600" baseline="0">
                  <a:solidFill>
                    <a:schemeClr val="bg1"/>
                  </a:solidFill>
                  <a:latin typeface="+mj-lt"/>
                </a:rPr>
                <a:t> sämtliche enthaltenen </a:t>
              </a:r>
              <a:r>
                <a:rPr lang="de-DE" sz="1133" b="0" kern="600" baseline="0" err="1">
                  <a:solidFill>
                    <a:schemeClr val="bg1"/>
                  </a:solidFill>
                  <a:latin typeface="+mj-lt"/>
                </a:rPr>
                <a:t>Layoutmaster</a:t>
              </a:r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.</a:t>
              </a:r>
            </a:p>
            <a:p>
              <a:endParaRPr lang="de-DE" sz="1133" b="0" kern="600">
                <a:solidFill>
                  <a:schemeClr val="bg1"/>
                </a:solidFill>
                <a:latin typeface="+mj-lt"/>
              </a:endParaRPr>
            </a:p>
            <a:p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Hier enthalten:</a:t>
              </a:r>
            </a:p>
            <a:p>
              <a:r>
                <a:rPr lang="de-DE" sz="1133" b="0" kern="600">
                  <a:solidFill>
                    <a:schemeClr val="bg1"/>
                  </a:solidFill>
                  <a:latin typeface="+mn-lt"/>
                </a:rPr>
                <a:t>Ebenen</a:t>
              </a:r>
              <a:r>
                <a:rPr lang="de-DE" sz="1133" b="0" kern="600" baseline="0">
                  <a:solidFill>
                    <a:schemeClr val="bg1"/>
                  </a:solidFill>
                  <a:latin typeface="+mn-lt"/>
                </a:rPr>
                <a:t> 1 bis 5 = Auflistungs-Ebenen</a:t>
              </a:r>
            </a:p>
            <a:p>
              <a:r>
                <a:rPr lang="de-DE" sz="1133" b="0" kern="600" baseline="0">
                  <a:solidFill>
                    <a:schemeClr val="bg1"/>
                  </a:solidFill>
                  <a:latin typeface="+mn-lt"/>
                </a:rPr>
                <a:t>Ebene 6 = Untertitel mit Abstand</a:t>
              </a:r>
            </a:p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133" b="0" kern="600" baseline="0">
                  <a:solidFill>
                    <a:schemeClr val="bg1"/>
                  </a:solidFill>
                  <a:latin typeface="+mn-lt"/>
                </a:rPr>
                <a:t>Ebene 7 = Kleiner Text, fett (Legenden-Titel)</a:t>
              </a:r>
              <a:endParaRPr lang="de-CH" sz="1133" b="0" kern="600">
                <a:solidFill>
                  <a:schemeClr val="bg1"/>
                </a:solidFill>
                <a:latin typeface="+mn-lt"/>
              </a:endParaRPr>
            </a:p>
            <a:p>
              <a:r>
                <a:rPr lang="de-DE" sz="1133" b="0" kern="600" baseline="0">
                  <a:solidFill>
                    <a:schemeClr val="bg1"/>
                  </a:solidFill>
                  <a:latin typeface="+mn-lt"/>
                </a:rPr>
                <a:t>Ebene 8 = Kleiner Text (Legenden)</a:t>
              </a:r>
              <a:endParaRPr lang="de-CH" sz="1133" b="0" kern="600">
                <a:solidFill>
                  <a:schemeClr val="bg1"/>
                </a:solidFill>
                <a:latin typeface="+mn-lt"/>
              </a:endParaRPr>
            </a:p>
          </p:txBody>
        </p:sp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ED1A6524-017D-42FA-A04E-3F12122C255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44799" y="2169871"/>
              <a:ext cx="2521785" cy="638937"/>
            </a:xfrm>
            <a:prstGeom prst="rect">
              <a:avLst/>
            </a:prstGeom>
            <a:grpFill/>
          </p:spPr>
        </p:pic>
      </p:grp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E72B0C4-0971-4902-803B-32B54CC8DDD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4400" y="1824000"/>
            <a:ext cx="10961651" cy="4418051"/>
          </a:xfrm>
        </p:spPr>
        <p:txBody>
          <a:bodyPr/>
          <a:lstStyle>
            <a:lvl1pPr marL="307192" indent="-307192">
              <a:buClr>
                <a:schemeClr val="tx1"/>
              </a:buClr>
              <a:buSzPct val="110000"/>
              <a:buFont typeface="Source Sans Pro Semibold" panose="020B0603030403020204" pitchFamily="34" charset="0"/>
              <a:buChar char="›"/>
              <a:defRPr/>
            </a:lvl1pPr>
            <a:lvl2pPr marL="614385">
              <a:defRPr/>
            </a:lvl2pPr>
            <a:lvl3pPr marL="921577">
              <a:defRPr/>
            </a:lvl3pPr>
            <a:lvl4pPr marL="1228769" indent="-307192">
              <a:buClr>
                <a:schemeClr val="tx1"/>
              </a:buClr>
              <a:buSzPct val="110000"/>
              <a:buFont typeface="Source Sans Pro Semibold" panose="020B0603030403020204" pitchFamily="34" charset="0"/>
              <a:buChar char="›"/>
              <a:defRPr/>
            </a:lvl4pPr>
            <a:lvl5pPr marL="1535962" indent="-307192">
              <a:buClr>
                <a:schemeClr val="tx1"/>
              </a:buClr>
              <a:buSzPct val="110000"/>
              <a:buFont typeface="Source Sans Pro Semibold" panose="020B0603030403020204" pitchFamily="34" charset="0"/>
              <a:buChar char="›"/>
              <a:defRPr/>
            </a:lvl5pPr>
            <a:lvl6pPr>
              <a:defRPr/>
            </a:lvl6pPr>
            <a:lvl8pPr>
              <a:defRPr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5CFAD176-EA8A-4B99-AD7B-D5774BA43A4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13835" y="6417600"/>
            <a:ext cx="9523765" cy="240000"/>
          </a:xfrm>
        </p:spPr>
        <p:txBody>
          <a:bodyPr/>
          <a:lstStyle>
            <a:lvl1pPr algn="l">
              <a:defRPr/>
            </a:lvl1pPr>
          </a:lstStyle>
          <a:p>
            <a:pPr algn="l"/>
            <a:endParaRPr lang="de-CH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283C25A4-6C9B-4849-BF5C-52E4003FF79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84BE2A-AF72-474C-A580-796179F45542}" type="slidenum">
              <a:rPr lang="de-CH" smtClean="0"/>
              <a:pPr/>
              <a:t>‹Nr.›</a:t>
            </a:fld>
            <a:endParaRPr lang="de-CH" kern="600"/>
          </a:p>
        </p:txBody>
      </p:sp>
    </p:spTree>
    <p:extLst>
      <p:ext uri="{BB962C8B-B14F-4D97-AF65-F5344CB8AC3E}">
        <p14:creationId xmlns:p14="http://schemas.microsoft.com/office/powerpoint/2010/main" val="37432491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3 pictur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hteck 31">
            <a:extLst>
              <a:ext uri="{FF2B5EF4-FFF2-40B4-BE49-F238E27FC236}">
                <a16:creationId xmlns:a16="http://schemas.microsoft.com/office/drawing/2014/main" id="{E4206195-4D56-45E2-A8A6-B93360BBC29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1F3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D86E6711-936E-40B2-94FD-400986333C00}"/>
              </a:ext>
            </a:extLst>
          </p:cNvPr>
          <p:cNvSpPr/>
          <p:nvPr userDrawn="1"/>
        </p:nvSpPr>
        <p:spPr>
          <a:xfrm>
            <a:off x="0" y="313267"/>
            <a:ext cx="12192000" cy="8974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E808EC03-21CD-4E93-B43D-C8349D729B2A}"/>
              </a:ext>
            </a:extLst>
          </p:cNvPr>
          <p:cNvSpPr/>
          <p:nvPr userDrawn="1"/>
        </p:nvSpPr>
        <p:spPr>
          <a:xfrm>
            <a:off x="0" y="313267"/>
            <a:ext cx="124800" cy="8974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8E555CA7-2E18-488B-9CD3-7E037894209F}"/>
              </a:ext>
            </a:extLst>
          </p:cNvPr>
          <p:cNvGrpSpPr/>
          <p:nvPr userDrawn="1"/>
        </p:nvGrpSpPr>
        <p:grpSpPr>
          <a:xfrm>
            <a:off x="10136049" y="559791"/>
            <a:ext cx="1440000" cy="404419"/>
            <a:chOff x="-5709525" y="-5645283"/>
            <a:chExt cx="19213689" cy="5396089"/>
          </a:xfrm>
        </p:grpSpPr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26E8E0F9-3D57-493A-87CE-FA47FA91DF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5709525" y="-5645283"/>
              <a:ext cx="19213689" cy="5396089"/>
            </a:xfrm>
            <a:prstGeom prst="rect">
              <a:avLst/>
            </a:prstGeom>
          </p:spPr>
        </p:pic>
        <p:sp>
          <p:nvSpPr>
            <p:cNvPr id="37" name="Freeform 26">
              <a:extLst>
                <a:ext uri="{FF2B5EF4-FFF2-40B4-BE49-F238E27FC236}">
                  <a16:creationId xmlns:a16="http://schemas.microsoft.com/office/drawing/2014/main" id="{9ED849EA-9624-4F9B-B9DE-74B609F1A5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709525" y="-5645283"/>
              <a:ext cx="1287463" cy="1493837"/>
            </a:xfrm>
            <a:custGeom>
              <a:avLst/>
              <a:gdLst>
                <a:gd name="T0" fmla="*/ 86 w 114"/>
                <a:gd name="T1" fmla="*/ 0 h 132"/>
                <a:gd name="T2" fmla="*/ 1 w 114"/>
                <a:gd name="T3" fmla="*/ 20 h 132"/>
                <a:gd name="T4" fmla="*/ 0 w 114"/>
                <a:gd name="T5" fmla="*/ 31 h 132"/>
                <a:gd name="T6" fmla="*/ 31 w 114"/>
                <a:gd name="T7" fmla="*/ 132 h 132"/>
                <a:gd name="T8" fmla="*/ 114 w 114"/>
                <a:gd name="T9" fmla="*/ 115 h 132"/>
                <a:gd name="T10" fmla="*/ 114 w 114"/>
                <a:gd name="T11" fmla="*/ 106 h 132"/>
                <a:gd name="T12" fmla="*/ 94 w 114"/>
                <a:gd name="T13" fmla="*/ 0 h 132"/>
                <a:gd name="T14" fmla="*/ 86 w 114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32">
                  <a:moveTo>
                    <a:pt x="86" y="0"/>
                  </a:moveTo>
                  <a:cubicBezTo>
                    <a:pt x="52" y="0"/>
                    <a:pt x="25" y="8"/>
                    <a:pt x="1" y="20"/>
                  </a:cubicBezTo>
                  <a:cubicBezTo>
                    <a:pt x="1" y="23"/>
                    <a:pt x="0" y="25"/>
                    <a:pt x="0" y="31"/>
                  </a:cubicBezTo>
                  <a:cubicBezTo>
                    <a:pt x="0" y="56"/>
                    <a:pt x="18" y="102"/>
                    <a:pt x="31" y="132"/>
                  </a:cubicBezTo>
                  <a:cubicBezTo>
                    <a:pt x="56" y="132"/>
                    <a:pt x="92" y="125"/>
                    <a:pt x="114" y="115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81"/>
                    <a:pt x="113" y="24"/>
                    <a:pt x="94" y="0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sz="240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eingeben</a:t>
            </a:r>
            <a:endParaRPr lang="en-US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BB891EF0-9A2C-40F1-A333-9199228FED3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13831" y="1824564"/>
            <a:ext cx="3652800" cy="2256369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algn="ctr">
              <a:lnSpc>
                <a:spcPts val="2067"/>
              </a:lnSpc>
              <a:spcBef>
                <a:spcPts val="0"/>
              </a:spcBef>
              <a:defRPr sz="1533" baseline="0">
                <a:latin typeface="+mj-lt"/>
              </a:defRPr>
            </a:lvl1pPr>
          </a:lstStyle>
          <a:p>
            <a:r>
              <a:rPr lang="de-CH"/>
              <a:t>Klicken Sie auf das Bild-Symbol in der Mitte um ein Bild hier zu platzieren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2BA4C121-BDE0-4DF7-83FA-79277A5CB2CB}"/>
              </a:ext>
            </a:extLst>
          </p:cNvPr>
          <p:cNvSpPr txBox="1"/>
          <p:nvPr userDrawn="1"/>
        </p:nvSpPr>
        <p:spPr>
          <a:xfrm>
            <a:off x="-3840000" y="4171201"/>
            <a:ext cx="3360000" cy="1540147"/>
          </a:xfrm>
          <a:prstGeom prst="rect">
            <a:avLst/>
          </a:prstGeom>
          <a:solidFill>
            <a:schemeClr val="accent2"/>
          </a:solidFill>
        </p:spPr>
        <p:txBody>
          <a:bodyPr wrap="square" lIns="144000" tIns="72000" rIns="144000" bIns="72000" rtlCol="0">
            <a:spAutoFit/>
          </a:bodyPr>
          <a:lstStyle/>
          <a:p>
            <a:r>
              <a:rPr lang="de-DE" sz="1133" b="0" kern="600">
                <a:solidFill>
                  <a:schemeClr val="bg1"/>
                </a:solidFill>
                <a:latin typeface="+mj-lt"/>
              </a:rPr>
              <a:t>Enthaltene Textebenen:</a:t>
            </a:r>
          </a:p>
          <a:p>
            <a:r>
              <a:rPr lang="de-DE" sz="1133" b="0" kern="600">
                <a:solidFill>
                  <a:schemeClr val="bg1"/>
                </a:solidFill>
                <a:latin typeface="+mn-lt"/>
              </a:rPr>
              <a:t>Ebene</a:t>
            </a: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 1 = Titel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2 = Auflist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3 = Auflist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4 = Nummerier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5 = Nummerier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6 = Untertitel mit Abstand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7 = Legende</a:t>
            </a: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726F897D-DEC3-48A9-85BB-D4B69C2391E6}"/>
              </a:ext>
            </a:extLst>
          </p:cNvPr>
          <p:cNvGrpSpPr/>
          <p:nvPr userDrawn="1"/>
        </p:nvGrpSpPr>
        <p:grpSpPr>
          <a:xfrm flipH="1">
            <a:off x="-3840000" y="313267"/>
            <a:ext cx="3360000" cy="3770250"/>
            <a:chOff x="-2880000" y="1428750"/>
            <a:chExt cx="2520000" cy="2827687"/>
          </a:xfrm>
        </p:grpSpPr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34C64702-85E3-443E-BF9D-36A0D33E46B4}"/>
                </a:ext>
              </a:extLst>
            </p:cNvPr>
            <p:cNvSpPr txBox="1"/>
            <p:nvPr userDrawn="1"/>
          </p:nvSpPr>
          <p:spPr>
            <a:xfrm flipH="1">
              <a:off x="-2880000" y="1428750"/>
              <a:ext cx="2520000" cy="2827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108000" tIns="54000" rIns="108000" bIns="54000" rtlCol="0">
              <a:spAutoFit/>
            </a:bodyPr>
            <a:lstStyle/>
            <a:p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Bilder einfügen:</a:t>
              </a:r>
            </a:p>
            <a:p>
              <a:pPr marL="153596" indent="-153596">
                <a:buAutoNum type="arabicPeriod"/>
              </a:pPr>
              <a:r>
                <a:rPr lang="de-DE" sz="1133" b="0" kern="600" baseline="0">
                  <a:solidFill>
                    <a:schemeClr val="bg1"/>
                  </a:solidFill>
                </a:rPr>
                <a:t>Löschen Sie das ggf. bereits vorhandene Bild</a:t>
              </a:r>
            </a:p>
            <a:p>
              <a:pPr marL="153596" indent="-153596">
                <a:buAutoNum type="arabicPeriod"/>
              </a:pPr>
              <a:r>
                <a:rPr lang="de-DE" sz="1133" b="0" kern="600" baseline="0">
                  <a:solidFill>
                    <a:schemeClr val="bg1"/>
                  </a:solidFill>
                </a:rPr>
                <a:t>Klicken Sie auf das Bild-Symbol in der Mitte </a:t>
              </a:r>
              <a:br>
                <a:rPr lang="de-DE" sz="1133" b="0" kern="600" baseline="0">
                  <a:solidFill>
                    <a:schemeClr val="bg1"/>
                  </a:solidFill>
                </a:rPr>
              </a:br>
              <a:r>
                <a:rPr lang="de-DE" sz="1133" b="0" kern="600" baseline="0">
                  <a:solidFill>
                    <a:schemeClr val="bg1"/>
                  </a:solidFill>
                </a:rPr>
                <a:t>des Platzhalters</a:t>
              </a: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r>
                <a:rPr lang="de-DE" sz="1133" b="0" kern="600" baseline="0">
                  <a:solidFill>
                    <a:schemeClr val="bg1"/>
                  </a:solidFill>
                </a:rPr>
                <a:t>Nachdem Sie Ihr Bild platziert haben, können Sie es über »Bildtools -&gt; Zuschneiden« innerhalb der hier definierten »</a:t>
              </a:r>
              <a:r>
                <a:rPr lang="de-DE" sz="1133" b="0" kern="600" baseline="0" err="1">
                  <a:solidFill>
                    <a:schemeClr val="bg1"/>
                  </a:solidFill>
                </a:rPr>
                <a:t>Bildbox</a:t>
              </a:r>
              <a:r>
                <a:rPr lang="de-DE" sz="1133" b="0" kern="600" baseline="0">
                  <a:solidFill>
                    <a:schemeClr val="bg1"/>
                  </a:solidFill>
                </a:rPr>
                <a:t>« verschieben und/oder beschneiden. Die enthaltenen Hilfslinien helfen bei der richtigen Positionierung.</a:t>
              </a:r>
              <a:r>
                <a:rPr lang="de-CH" sz="1133" b="0" kern="600" baseline="0">
                  <a:solidFill>
                    <a:schemeClr val="bg1"/>
                  </a:solidFill>
                </a:rPr>
                <a:t> Durch Klicken auf »Einpassen« wird das Bild passend skaliert.</a:t>
              </a: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95B5EB24-2D14-43AA-88D7-7A4C16AE068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p:blipFill>
          <p:spPr>
            <a:xfrm flipH="1">
              <a:off x="-1589225" y="3001763"/>
              <a:ext cx="1088246" cy="1143924"/>
            </a:xfrm>
            <a:prstGeom prst="rect">
              <a:avLst/>
            </a:prstGeom>
          </p:spPr>
        </p:pic>
      </p:grp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8C1F4-CC17-4179-ABF6-E1748E66AC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3829" y="4080931"/>
            <a:ext cx="3653371" cy="2161119"/>
          </a:xfrm>
        </p:spPr>
        <p:txBody>
          <a:bodyPr tIns="201600" rIns="144000"/>
          <a:lstStyle>
            <a:lvl1pPr>
              <a:lnSpc>
                <a:spcPts val="2067"/>
              </a:lnSpc>
              <a:spcBef>
                <a:spcPts val="0"/>
              </a:spcBef>
              <a:defRPr sz="1533">
                <a:latin typeface="+mj-lt"/>
              </a:defRPr>
            </a:lvl1pPr>
            <a:lvl2pPr marL="153596" indent="-153596">
              <a:lnSpc>
                <a:spcPts val="2067"/>
              </a:lnSpc>
              <a:spcBef>
                <a:spcPts val="0"/>
              </a:spcBef>
              <a:defRPr sz="1533"/>
            </a:lvl2pPr>
            <a:lvl3pPr marL="307192" indent="-153596">
              <a:lnSpc>
                <a:spcPts val="2067"/>
              </a:lnSpc>
              <a:spcBef>
                <a:spcPts val="0"/>
              </a:spcBef>
              <a:defRPr sz="1533"/>
            </a:lvl3pPr>
            <a:lvl4pPr marL="307192" indent="-307192">
              <a:lnSpc>
                <a:spcPts val="2067"/>
              </a:lnSpc>
              <a:spcBef>
                <a:spcPts val="0"/>
              </a:spcBef>
              <a:defRPr sz="1533"/>
            </a:lvl4pPr>
            <a:lvl5pPr marL="614385" indent="-307192">
              <a:lnSpc>
                <a:spcPts val="2067"/>
              </a:lnSpc>
              <a:spcBef>
                <a:spcPts val="0"/>
              </a:spcBef>
              <a:defRPr sz="1533"/>
            </a:lvl5pPr>
            <a:lvl6pPr>
              <a:lnSpc>
                <a:spcPts val="2067"/>
              </a:lnSpc>
              <a:spcBef>
                <a:spcPts val="1033"/>
              </a:spcBef>
              <a:defRPr sz="1533"/>
            </a:lvl6pPr>
            <a:lvl7pPr>
              <a:defRPr>
                <a:latin typeface="+mn-lt"/>
              </a:defRPr>
            </a:lvl7pPr>
            <a:lvl8pPr>
              <a:defRPr/>
            </a:lvl8pPr>
            <a:lvl9pPr>
              <a:lnSpc>
                <a:spcPts val="2067"/>
              </a:lnSpc>
              <a:defRPr sz="153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E30AEC71-0B9E-4AEE-B4FE-6E6CD758ABA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924799" y="1824564"/>
            <a:ext cx="3653371" cy="2256369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algn="ctr">
              <a:lnSpc>
                <a:spcPts val="2067"/>
              </a:lnSpc>
              <a:spcBef>
                <a:spcPts val="0"/>
              </a:spcBef>
              <a:defRPr sz="1533" baseline="0">
                <a:latin typeface="+mj-lt"/>
              </a:defRPr>
            </a:lvl1pPr>
          </a:lstStyle>
          <a:p>
            <a:r>
              <a:rPr lang="de-CH"/>
              <a:t>Klicken Sie auf das Bild-Symbol in der Mitte um ein Bild hier zu platzieren</a:t>
            </a:r>
          </a:p>
        </p:txBody>
      </p:sp>
      <p:sp>
        <p:nvSpPr>
          <p:cNvPr id="21" name="Textplatzhalter 5">
            <a:extLst>
              <a:ext uri="{FF2B5EF4-FFF2-40B4-BE49-F238E27FC236}">
                <a16:creationId xmlns:a16="http://schemas.microsoft.com/office/drawing/2014/main" id="{68EAAC17-5F84-4B63-B90D-85591A1828E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924800" y="4080931"/>
            <a:ext cx="3652800" cy="2161119"/>
          </a:xfrm>
        </p:spPr>
        <p:txBody>
          <a:bodyPr tIns="201600" rIns="144000"/>
          <a:lstStyle>
            <a:lvl1pPr>
              <a:lnSpc>
                <a:spcPts val="2067"/>
              </a:lnSpc>
              <a:spcBef>
                <a:spcPts val="0"/>
              </a:spcBef>
              <a:defRPr sz="1533">
                <a:latin typeface="+mj-lt"/>
              </a:defRPr>
            </a:lvl1pPr>
            <a:lvl2pPr marL="153596" indent="-153596">
              <a:lnSpc>
                <a:spcPts val="2067"/>
              </a:lnSpc>
              <a:spcBef>
                <a:spcPts val="0"/>
              </a:spcBef>
              <a:defRPr sz="1533"/>
            </a:lvl2pPr>
            <a:lvl3pPr marL="307192" indent="-153596">
              <a:lnSpc>
                <a:spcPts val="2067"/>
              </a:lnSpc>
              <a:spcBef>
                <a:spcPts val="0"/>
              </a:spcBef>
              <a:defRPr sz="1533"/>
            </a:lvl3pPr>
            <a:lvl4pPr marL="307192" indent="-307192">
              <a:lnSpc>
                <a:spcPts val="2067"/>
              </a:lnSpc>
              <a:spcBef>
                <a:spcPts val="0"/>
              </a:spcBef>
              <a:defRPr sz="1533"/>
            </a:lvl4pPr>
            <a:lvl5pPr marL="614385" indent="-307192">
              <a:lnSpc>
                <a:spcPts val="2067"/>
              </a:lnSpc>
              <a:spcBef>
                <a:spcPts val="0"/>
              </a:spcBef>
              <a:defRPr sz="1533"/>
            </a:lvl5pPr>
            <a:lvl6pPr>
              <a:lnSpc>
                <a:spcPts val="2067"/>
              </a:lnSpc>
              <a:spcBef>
                <a:spcPts val="1033"/>
              </a:spcBef>
              <a:defRPr sz="1533"/>
            </a:lvl6pPr>
            <a:lvl7pPr>
              <a:defRPr>
                <a:latin typeface="+mn-lt"/>
              </a:defRPr>
            </a:lvl7pPr>
            <a:lvl8pPr>
              <a:defRPr/>
            </a:lvl8pPr>
            <a:lvl9pPr>
              <a:lnSpc>
                <a:spcPts val="2067"/>
              </a:lnSpc>
              <a:defRPr sz="153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22" name="Bildplatzhalter 6">
            <a:extLst>
              <a:ext uri="{FF2B5EF4-FFF2-40B4-BE49-F238E27FC236}">
                <a16:creationId xmlns:a16="http://schemas.microsoft.com/office/drawing/2014/main" id="{06716F2B-B3CC-404D-A5B7-451F2AF1781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266631" y="1824564"/>
            <a:ext cx="3658168" cy="2256369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algn="ctr">
              <a:lnSpc>
                <a:spcPts val="2067"/>
              </a:lnSpc>
              <a:spcBef>
                <a:spcPts val="0"/>
              </a:spcBef>
              <a:defRPr sz="1533" baseline="0">
                <a:latin typeface="+mj-lt"/>
              </a:defRPr>
            </a:lvl1pPr>
          </a:lstStyle>
          <a:p>
            <a:r>
              <a:rPr lang="de-CH"/>
              <a:t>Klicken Sie auf das Bild-Symbol in der Mitte um ein Bild hier zu platzieren</a:t>
            </a:r>
          </a:p>
        </p:txBody>
      </p:sp>
      <p:sp>
        <p:nvSpPr>
          <p:cNvPr id="23" name="Textplatzhalter 5">
            <a:extLst>
              <a:ext uri="{FF2B5EF4-FFF2-40B4-BE49-F238E27FC236}">
                <a16:creationId xmlns:a16="http://schemas.microsoft.com/office/drawing/2014/main" id="{E40DA43F-CD18-489E-A619-29289D8144B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67199" y="4080931"/>
            <a:ext cx="3657600" cy="2161119"/>
          </a:xfrm>
        </p:spPr>
        <p:txBody>
          <a:bodyPr tIns="201600" rIns="144000"/>
          <a:lstStyle>
            <a:lvl1pPr>
              <a:lnSpc>
                <a:spcPts val="2067"/>
              </a:lnSpc>
              <a:spcBef>
                <a:spcPts val="0"/>
              </a:spcBef>
              <a:defRPr sz="1533">
                <a:latin typeface="+mj-lt"/>
              </a:defRPr>
            </a:lvl1pPr>
            <a:lvl2pPr marL="153596" indent="-153596">
              <a:lnSpc>
                <a:spcPts val="2067"/>
              </a:lnSpc>
              <a:spcBef>
                <a:spcPts val="0"/>
              </a:spcBef>
              <a:defRPr sz="1533"/>
            </a:lvl2pPr>
            <a:lvl3pPr marL="307192" indent="-153596">
              <a:lnSpc>
                <a:spcPts val="2067"/>
              </a:lnSpc>
              <a:spcBef>
                <a:spcPts val="0"/>
              </a:spcBef>
              <a:defRPr sz="1533"/>
            </a:lvl3pPr>
            <a:lvl4pPr marL="307192" indent="-307192">
              <a:lnSpc>
                <a:spcPts val="2067"/>
              </a:lnSpc>
              <a:spcBef>
                <a:spcPts val="0"/>
              </a:spcBef>
              <a:defRPr sz="1533"/>
            </a:lvl4pPr>
            <a:lvl5pPr marL="614385" indent="-307192">
              <a:lnSpc>
                <a:spcPts val="2067"/>
              </a:lnSpc>
              <a:spcBef>
                <a:spcPts val="0"/>
              </a:spcBef>
              <a:defRPr sz="1533"/>
            </a:lvl5pPr>
            <a:lvl6pPr>
              <a:lnSpc>
                <a:spcPts val="2067"/>
              </a:lnSpc>
              <a:spcBef>
                <a:spcPts val="1033"/>
              </a:spcBef>
              <a:defRPr sz="1533"/>
            </a:lvl6pPr>
            <a:lvl7pPr>
              <a:defRPr>
                <a:latin typeface="+mn-lt"/>
              </a:defRPr>
            </a:lvl7pPr>
            <a:lvl8pPr>
              <a:defRPr/>
            </a:lvl8pPr>
            <a:lvl9pPr>
              <a:lnSpc>
                <a:spcPts val="2067"/>
              </a:lnSpc>
              <a:defRPr sz="153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28" name="Fußzeilenplatzhalter 27">
            <a:extLst>
              <a:ext uri="{FF2B5EF4-FFF2-40B4-BE49-F238E27FC236}">
                <a16:creationId xmlns:a16="http://schemas.microsoft.com/office/drawing/2014/main" id="{4AB2EA0E-845C-4290-8413-9B0A56D9AA1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613829" y="6417600"/>
            <a:ext cx="9523771" cy="240000"/>
          </a:xfrm>
        </p:spPr>
        <p:txBody>
          <a:bodyPr/>
          <a:lstStyle>
            <a:lvl1pPr algn="l">
              <a:defRPr/>
            </a:lvl1pPr>
          </a:lstStyle>
          <a:p>
            <a:pPr algn="l"/>
            <a:endParaRPr lang="de-CH"/>
          </a:p>
        </p:txBody>
      </p:sp>
      <p:sp>
        <p:nvSpPr>
          <p:cNvPr id="29" name="Foliennummernplatzhalter 28">
            <a:extLst>
              <a:ext uri="{FF2B5EF4-FFF2-40B4-BE49-F238E27FC236}">
                <a16:creationId xmlns:a16="http://schemas.microsoft.com/office/drawing/2014/main" id="{2818F05B-0918-4643-AA95-7656F3A900A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5B84BE2A-AF72-474C-A580-796179F45542}" type="slidenum">
              <a:rPr lang="de-CH" smtClean="0"/>
              <a:pPr/>
              <a:t>‹Nr.›</a:t>
            </a:fld>
            <a:endParaRPr lang="de-CH" kern="600"/>
          </a:p>
        </p:txBody>
      </p:sp>
    </p:spTree>
    <p:extLst>
      <p:ext uri="{BB962C8B-B14F-4D97-AF65-F5344CB8AC3E}">
        <p14:creationId xmlns:p14="http://schemas.microsoft.com/office/powerpoint/2010/main" val="1252274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51">
          <p15:clr>
            <a:srgbClr val="A4A3A4"/>
          </p15:clr>
        </p15:guide>
        <p15:guide id="2" orient="horz" pos="192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pictur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>
            <a:extLst>
              <a:ext uri="{FF2B5EF4-FFF2-40B4-BE49-F238E27FC236}">
                <a16:creationId xmlns:a16="http://schemas.microsoft.com/office/drawing/2014/main" id="{8415BB38-1FA2-4337-9FED-3AB46A689FD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1F3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9465B5D-F86F-4A5A-B3AB-0CD7A7D91A2E}"/>
              </a:ext>
            </a:extLst>
          </p:cNvPr>
          <p:cNvSpPr/>
          <p:nvPr userDrawn="1"/>
        </p:nvSpPr>
        <p:spPr>
          <a:xfrm>
            <a:off x="0" y="313267"/>
            <a:ext cx="12192000" cy="8974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AEAB81F7-1A0C-42BB-8819-865D1F87C348}"/>
              </a:ext>
            </a:extLst>
          </p:cNvPr>
          <p:cNvSpPr/>
          <p:nvPr userDrawn="1"/>
        </p:nvSpPr>
        <p:spPr>
          <a:xfrm>
            <a:off x="0" y="313267"/>
            <a:ext cx="124800" cy="8974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F8E602B2-6CFA-4730-A25E-02520E57104F}"/>
              </a:ext>
            </a:extLst>
          </p:cNvPr>
          <p:cNvGrpSpPr/>
          <p:nvPr userDrawn="1"/>
        </p:nvGrpSpPr>
        <p:grpSpPr>
          <a:xfrm>
            <a:off x="10136049" y="559791"/>
            <a:ext cx="1440000" cy="404419"/>
            <a:chOff x="-5709525" y="-5645283"/>
            <a:chExt cx="19213689" cy="5396089"/>
          </a:xfrm>
        </p:grpSpPr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0E006610-68D4-49DC-836C-F686EAEEE2B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5709525" y="-5645283"/>
              <a:ext cx="19213689" cy="5396089"/>
            </a:xfrm>
            <a:prstGeom prst="rect">
              <a:avLst/>
            </a:prstGeom>
          </p:spPr>
        </p:pic>
        <p:sp>
          <p:nvSpPr>
            <p:cNvPr id="32" name="Freeform 26">
              <a:extLst>
                <a:ext uri="{FF2B5EF4-FFF2-40B4-BE49-F238E27FC236}">
                  <a16:creationId xmlns:a16="http://schemas.microsoft.com/office/drawing/2014/main" id="{74F05BC3-B1AF-46E3-8C2A-A6893FB832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709525" y="-5645283"/>
              <a:ext cx="1287463" cy="1493837"/>
            </a:xfrm>
            <a:custGeom>
              <a:avLst/>
              <a:gdLst>
                <a:gd name="T0" fmla="*/ 86 w 114"/>
                <a:gd name="T1" fmla="*/ 0 h 132"/>
                <a:gd name="T2" fmla="*/ 1 w 114"/>
                <a:gd name="T3" fmla="*/ 20 h 132"/>
                <a:gd name="T4" fmla="*/ 0 w 114"/>
                <a:gd name="T5" fmla="*/ 31 h 132"/>
                <a:gd name="T6" fmla="*/ 31 w 114"/>
                <a:gd name="T7" fmla="*/ 132 h 132"/>
                <a:gd name="T8" fmla="*/ 114 w 114"/>
                <a:gd name="T9" fmla="*/ 115 h 132"/>
                <a:gd name="T10" fmla="*/ 114 w 114"/>
                <a:gd name="T11" fmla="*/ 106 h 132"/>
                <a:gd name="T12" fmla="*/ 94 w 114"/>
                <a:gd name="T13" fmla="*/ 0 h 132"/>
                <a:gd name="T14" fmla="*/ 86 w 114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32">
                  <a:moveTo>
                    <a:pt x="86" y="0"/>
                  </a:moveTo>
                  <a:cubicBezTo>
                    <a:pt x="52" y="0"/>
                    <a:pt x="25" y="8"/>
                    <a:pt x="1" y="20"/>
                  </a:cubicBezTo>
                  <a:cubicBezTo>
                    <a:pt x="1" y="23"/>
                    <a:pt x="0" y="25"/>
                    <a:pt x="0" y="31"/>
                  </a:cubicBezTo>
                  <a:cubicBezTo>
                    <a:pt x="0" y="56"/>
                    <a:pt x="18" y="102"/>
                    <a:pt x="31" y="132"/>
                  </a:cubicBezTo>
                  <a:cubicBezTo>
                    <a:pt x="56" y="132"/>
                    <a:pt x="92" y="125"/>
                    <a:pt x="114" y="115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81"/>
                    <a:pt x="113" y="24"/>
                    <a:pt x="94" y="0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sz="240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eingeben</a:t>
            </a:r>
            <a:endParaRPr lang="en-US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BB891EF0-9A2C-40F1-A333-9199228FED3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13830" y="1824564"/>
            <a:ext cx="5482169" cy="2256369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ts val="2067"/>
              </a:lnSpc>
              <a:spcBef>
                <a:spcPts val="0"/>
              </a:spcBef>
              <a:defRPr sz="1533" baseline="0">
                <a:latin typeface="+mj-lt"/>
              </a:defRPr>
            </a:lvl1pPr>
          </a:lstStyle>
          <a:p>
            <a:r>
              <a:rPr lang="de-CH"/>
              <a:t>Klicken Sie auf das Bild-Symbol in der Mitte um ein Bild hier zu platzieren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2BA4C121-BDE0-4DF7-83FA-79277A5CB2CB}"/>
              </a:ext>
            </a:extLst>
          </p:cNvPr>
          <p:cNvSpPr txBox="1"/>
          <p:nvPr userDrawn="1"/>
        </p:nvSpPr>
        <p:spPr>
          <a:xfrm>
            <a:off x="-3840000" y="4171201"/>
            <a:ext cx="3360000" cy="1540147"/>
          </a:xfrm>
          <a:prstGeom prst="rect">
            <a:avLst/>
          </a:prstGeom>
          <a:solidFill>
            <a:schemeClr val="accent2"/>
          </a:solidFill>
        </p:spPr>
        <p:txBody>
          <a:bodyPr wrap="square" lIns="144000" tIns="72000" rIns="144000" bIns="72000" rtlCol="0">
            <a:spAutoFit/>
          </a:bodyPr>
          <a:lstStyle/>
          <a:p>
            <a:r>
              <a:rPr lang="de-DE" sz="1133" b="0" kern="600">
                <a:solidFill>
                  <a:schemeClr val="bg1"/>
                </a:solidFill>
                <a:latin typeface="+mj-lt"/>
              </a:rPr>
              <a:t>Enthaltene Textebenen:</a:t>
            </a:r>
          </a:p>
          <a:p>
            <a:r>
              <a:rPr lang="de-DE" sz="1133" b="0" kern="600">
                <a:solidFill>
                  <a:schemeClr val="bg1"/>
                </a:solidFill>
                <a:latin typeface="+mn-lt"/>
              </a:rPr>
              <a:t>Ebene</a:t>
            </a: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 1 = Titel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2 = Auflist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3 = Auflist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4 = Nummerier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5 = Nummerier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6 = Untertitel mit Abstand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7 = Legend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8C1F4-CC17-4179-ABF6-E1748E66AC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3829" y="4080931"/>
            <a:ext cx="5482169" cy="2161119"/>
          </a:xfrm>
        </p:spPr>
        <p:txBody>
          <a:bodyPr tIns="201600" rIns="144000"/>
          <a:lstStyle>
            <a:lvl1pPr>
              <a:lnSpc>
                <a:spcPts val="2067"/>
              </a:lnSpc>
              <a:spcBef>
                <a:spcPts val="0"/>
              </a:spcBef>
              <a:defRPr sz="1533">
                <a:latin typeface="+mj-lt"/>
              </a:defRPr>
            </a:lvl1pPr>
            <a:lvl2pPr marL="153596" indent="-153596">
              <a:lnSpc>
                <a:spcPts val="2067"/>
              </a:lnSpc>
              <a:spcBef>
                <a:spcPts val="0"/>
              </a:spcBef>
              <a:defRPr sz="1533"/>
            </a:lvl2pPr>
            <a:lvl3pPr marL="307192" indent="-153596">
              <a:lnSpc>
                <a:spcPts val="2067"/>
              </a:lnSpc>
              <a:spcBef>
                <a:spcPts val="0"/>
              </a:spcBef>
              <a:defRPr sz="1533"/>
            </a:lvl3pPr>
            <a:lvl4pPr marL="307192" indent="-307192">
              <a:lnSpc>
                <a:spcPts val="2067"/>
              </a:lnSpc>
              <a:spcBef>
                <a:spcPts val="0"/>
              </a:spcBef>
              <a:defRPr sz="1533"/>
            </a:lvl4pPr>
            <a:lvl5pPr marL="614385" indent="-307192">
              <a:lnSpc>
                <a:spcPts val="2067"/>
              </a:lnSpc>
              <a:spcBef>
                <a:spcPts val="0"/>
              </a:spcBef>
              <a:defRPr sz="1533"/>
            </a:lvl5pPr>
            <a:lvl6pPr>
              <a:lnSpc>
                <a:spcPts val="2067"/>
              </a:lnSpc>
              <a:spcBef>
                <a:spcPts val="1033"/>
              </a:spcBef>
              <a:defRPr sz="1533"/>
            </a:lvl6pPr>
            <a:lvl7pPr>
              <a:defRPr>
                <a:latin typeface="+mn-lt"/>
              </a:defRPr>
            </a:lvl7pPr>
            <a:lvl8pPr>
              <a:defRPr/>
            </a:lvl8pPr>
            <a:lvl9pPr>
              <a:lnSpc>
                <a:spcPts val="2067"/>
              </a:lnSpc>
              <a:defRPr sz="153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E30AEC71-0B9E-4AEE-B4FE-6E6CD758ABA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1" y="1824564"/>
            <a:ext cx="5482169" cy="2256369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ts val="2067"/>
              </a:lnSpc>
              <a:spcBef>
                <a:spcPts val="0"/>
              </a:spcBef>
              <a:defRPr sz="1533" baseline="0">
                <a:latin typeface="+mj-lt"/>
              </a:defRPr>
            </a:lvl1pPr>
          </a:lstStyle>
          <a:p>
            <a:r>
              <a:rPr lang="de-CH"/>
              <a:t>Klicken Sie auf das Bild-Symbol in der Mitte um ein Bild hier zu platzieren</a:t>
            </a:r>
          </a:p>
        </p:txBody>
      </p:sp>
      <p:sp>
        <p:nvSpPr>
          <p:cNvPr id="21" name="Textplatzhalter 5">
            <a:extLst>
              <a:ext uri="{FF2B5EF4-FFF2-40B4-BE49-F238E27FC236}">
                <a16:creationId xmlns:a16="http://schemas.microsoft.com/office/drawing/2014/main" id="{68EAAC17-5F84-4B63-B90D-85591A1828E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1" y="4080931"/>
            <a:ext cx="5482169" cy="2161119"/>
          </a:xfrm>
        </p:spPr>
        <p:txBody>
          <a:bodyPr tIns="201600" rIns="144000"/>
          <a:lstStyle>
            <a:lvl1pPr>
              <a:lnSpc>
                <a:spcPts val="2067"/>
              </a:lnSpc>
              <a:spcBef>
                <a:spcPts val="0"/>
              </a:spcBef>
              <a:defRPr sz="1533">
                <a:latin typeface="+mj-lt"/>
              </a:defRPr>
            </a:lvl1pPr>
            <a:lvl2pPr marL="153596" indent="-153596">
              <a:lnSpc>
                <a:spcPts val="2067"/>
              </a:lnSpc>
              <a:spcBef>
                <a:spcPts val="0"/>
              </a:spcBef>
              <a:defRPr sz="1533"/>
            </a:lvl2pPr>
            <a:lvl3pPr marL="307192" indent="-153596">
              <a:lnSpc>
                <a:spcPts val="2067"/>
              </a:lnSpc>
              <a:spcBef>
                <a:spcPts val="0"/>
              </a:spcBef>
              <a:defRPr sz="1533"/>
            </a:lvl3pPr>
            <a:lvl4pPr marL="307192" indent="-307192">
              <a:lnSpc>
                <a:spcPts val="2067"/>
              </a:lnSpc>
              <a:spcBef>
                <a:spcPts val="0"/>
              </a:spcBef>
              <a:defRPr sz="1533"/>
            </a:lvl4pPr>
            <a:lvl5pPr marL="614385" indent="-307192">
              <a:lnSpc>
                <a:spcPts val="2067"/>
              </a:lnSpc>
              <a:spcBef>
                <a:spcPts val="0"/>
              </a:spcBef>
              <a:defRPr sz="1533"/>
            </a:lvl5pPr>
            <a:lvl6pPr>
              <a:lnSpc>
                <a:spcPts val="2067"/>
              </a:lnSpc>
              <a:spcBef>
                <a:spcPts val="1033"/>
              </a:spcBef>
              <a:defRPr sz="1533"/>
            </a:lvl6pPr>
            <a:lvl7pPr>
              <a:defRPr>
                <a:latin typeface="+mn-lt"/>
              </a:defRPr>
            </a:lvl7pPr>
            <a:lvl8pPr>
              <a:defRPr/>
            </a:lvl8pPr>
            <a:lvl9pPr>
              <a:lnSpc>
                <a:spcPts val="2067"/>
              </a:lnSpc>
              <a:defRPr sz="153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9756A05F-9E93-449F-AFC4-5334E6434E0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13834" y="6417600"/>
            <a:ext cx="9523767" cy="240000"/>
          </a:xfrm>
        </p:spPr>
        <p:txBody>
          <a:bodyPr/>
          <a:lstStyle>
            <a:lvl1pPr algn="l">
              <a:defRPr/>
            </a:lvl1pPr>
          </a:lstStyle>
          <a:p>
            <a:pPr algn="l"/>
            <a:endParaRPr lang="de-CH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41E153F-68A3-4DFD-91D8-47F0E64EC5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5B84BE2A-AF72-474C-A580-796179F45542}" type="slidenum">
              <a:rPr lang="de-CH" smtClean="0"/>
              <a:pPr/>
              <a:t>‹Nr.›</a:t>
            </a:fld>
            <a:endParaRPr lang="de-CH" kern="600"/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1F792D84-EB8B-4C40-8AB2-94C4A3E52127}"/>
              </a:ext>
            </a:extLst>
          </p:cNvPr>
          <p:cNvGrpSpPr/>
          <p:nvPr userDrawn="1"/>
        </p:nvGrpSpPr>
        <p:grpSpPr>
          <a:xfrm flipH="1">
            <a:off x="-3840000" y="313267"/>
            <a:ext cx="3360000" cy="3770250"/>
            <a:chOff x="-2880000" y="1428750"/>
            <a:chExt cx="2520000" cy="2827687"/>
          </a:xfrm>
        </p:grpSpPr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28BA7F4D-795F-427A-8A05-218C671825E8}"/>
                </a:ext>
              </a:extLst>
            </p:cNvPr>
            <p:cNvSpPr txBox="1"/>
            <p:nvPr userDrawn="1"/>
          </p:nvSpPr>
          <p:spPr>
            <a:xfrm flipH="1">
              <a:off x="-2880000" y="1428750"/>
              <a:ext cx="2520000" cy="2827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108000" tIns="54000" rIns="108000" bIns="54000" rtlCol="0">
              <a:spAutoFit/>
            </a:bodyPr>
            <a:lstStyle/>
            <a:p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Bilder einfügen:</a:t>
              </a:r>
            </a:p>
            <a:p>
              <a:pPr marL="153596" indent="-153596">
                <a:buAutoNum type="arabicPeriod"/>
              </a:pPr>
              <a:r>
                <a:rPr lang="de-DE" sz="1133" b="0" kern="600" baseline="0">
                  <a:solidFill>
                    <a:schemeClr val="bg1"/>
                  </a:solidFill>
                </a:rPr>
                <a:t>Löschen Sie das ggf. bereits vorhandene Bild</a:t>
              </a:r>
            </a:p>
            <a:p>
              <a:pPr marL="153596" indent="-153596">
                <a:buAutoNum type="arabicPeriod"/>
              </a:pPr>
              <a:r>
                <a:rPr lang="de-DE" sz="1133" b="0" kern="600" baseline="0">
                  <a:solidFill>
                    <a:schemeClr val="bg1"/>
                  </a:solidFill>
                </a:rPr>
                <a:t>Klicken Sie auf das Bild-Symbol in der Mitte </a:t>
              </a:r>
              <a:br>
                <a:rPr lang="de-DE" sz="1133" b="0" kern="600" baseline="0">
                  <a:solidFill>
                    <a:schemeClr val="bg1"/>
                  </a:solidFill>
                </a:rPr>
              </a:br>
              <a:r>
                <a:rPr lang="de-DE" sz="1133" b="0" kern="600" baseline="0">
                  <a:solidFill>
                    <a:schemeClr val="bg1"/>
                  </a:solidFill>
                </a:rPr>
                <a:t>des Platzhalters</a:t>
              </a: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r>
                <a:rPr lang="de-DE" sz="1133" b="0" kern="600" baseline="0">
                  <a:solidFill>
                    <a:schemeClr val="bg1"/>
                  </a:solidFill>
                </a:rPr>
                <a:t>Nachdem Sie Ihr Bild platziert haben, können Sie es über »Bildtools -&gt; Zuschneiden« innerhalb der hier definierten »</a:t>
              </a:r>
              <a:r>
                <a:rPr lang="de-DE" sz="1133" b="0" kern="600" baseline="0" err="1">
                  <a:solidFill>
                    <a:schemeClr val="bg1"/>
                  </a:solidFill>
                </a:rPr>
                <a:t>Bildbox</a:t>
              </a:r>
              <a:r>
                <a:rPr lang="de-DE" sz="1133" b="0" kern="600" baseline="0">
                  <a:solidFill>
                    <a:schemeClr val="bg1"/>
                  </a:solidFill>
                </a:rPr>
                <a:t>« verschieben und/oder beschneiden. Die enthaltenen Hilfslinien helfen bei der richtigen Positionierung.</a:t>
              </a:r>
              <a:r>
                <a:rPr lang="de-CH" sz="1133" b="0" kern="600" baseline="0">
                  <a:solidFill>
                    <a:schemeClr val="bg1"/>
                  </a:solidFill>
                </a:rPr>
                <a:t> Durch Klicken auf »Einpassen« wird das Bild passend skaliert.</a:t>
              </a: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</p:txBody>
        </p:sp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A0D66099-7FA3-49BB-BC63-BA08D450FE8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p:blipFill>
          <p:spPr>
            <a:xfrm flipH="1">
              <a:off x="-1589225" y="3001763"/>
              <a:ext cx="1088246" cy="114392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16444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51">
          <p15:clr>
            <a:srgbClr val="A4A3A4"/>
          </p15:clr>
        </p15:guide>
        <p15:guide id="2" orient="horz" pos="1928">
          <p15:clr>
            <a:srgbClr val="FBAE40"/>
          </p15:clr>
        </p15:guide>
        <p15:guide id="3" pos="288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ackground picture and content">
    <p:bg>
      <p:bgPr>
        <a:solidFill>
          <a:srgbClr val="F1F3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>
            <a:extLst>
              <a:ext uri="{FF2B5EF4-FFF2-40B4-BE49-F238E27FC236}">
                <a16:creationId xmlns:a16="http://schemas.microsoft.com/office/drawing/2014/main" id="{275CEBAF-0AE0-42D6-A3D9-679B966DD20C}"/>
              </a:ext>
            </a:extLst>
          </p:cNvPr>
          <p:cNvSpPr/>
          <p:nvPr userDrawn="1"/>
        </p:nvSpPr>
        <p:spPr>
          <a:xfrm>
            <a:off x="0" y="313267"/>
            <a:ext cx="12192000" cy="8974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B39EB31A-396D-42F6-8B6F-485780EB462F}"/>
              </a:ext>
            </a:extLst>
          </p:cNvPr>
          <p:cNvSpPr/>
          <p:nvPr userDrawn="1"/>
        </p:nvSpPr>
        <p:spPr>
          <a:xfrm>
            <a:off x="0" y="313267"/>
            <a:ext cx="124800" cy="8974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eingeben</a:t>
            </a:r>
            <a:endParaRPr lang="en-US"/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726F897D-DEC3-48A9-85BB-D4B69C2391E6}"/>
              </a:ext>
            </a:extLst>
          </p:cNvPr>
          <p:cNvGrpSpPr/>
          <p:nvPr userDrawn="1"/>
        </p:nvGrpSpPr>
        <p:grpSpPr>
          <a:xfrm flipH="1">
            <a:off x="-3840000" y="313267"/>
            <a:ext cx="3360000" cy="4472091"/>
            <a:chOff x="-2880000" y="1428750"/>
            <a:chExt cx="2520000" cy="3354068"/>
          </a:xfrm>
        </p:grpSpPr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34C64702-85E3-443E-BF9D-36A0D33E46B4}"/>
                </a:ext>
              </a:extLst>
            </p:cNvPr>
            <p:cNvSpPr txBox="1"/>
            <p:nvPr userDrawn="1"/>
          </p:nvSpPr>
          <p:spPr>
            <a:xfrm flipH="1">
              <a:off x="-2880000" y="1428750"/>
              <a:ext cx="2520000" cy="3350715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108000" tIns="54000" rIns="108000" bIns="54000" rtlCol="0">
              <a:spAutoFit/>
            </a:bodyPr>
            <a:lstStyle/>
            <a:p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Hintergrundbild einfügen:</a:t>
              </a:r>
            </a:p>
            <a:p>
              <a:pPr marL="153596" indent="-153596">
                <a:buAutoNum type="arabicPeriod"/>
              </a:pPr>
              <a:r>
                <a:rPr lang="de-DE" sz="1133" b="0" kern="600" baseline="0">
                  <a:solidFill>
                    <a:schemeClr val="bg1"/>
                  </a:solidFill>
                </a:rPr>
                <a:t>Rechtsklick &gt; </a:t>
              </a:r>
              <a:r>
                <a:rPr lang="de-DE" sz="1133" b="0" kern="600" baseline="0" err="1">
                  <a:solidFill>
                    <a:schemeClr val="bg1"/>
                  </a:solidFill>
                </a:rPr>
                <a:t>Hintegrund</a:t>
              </a:r>
              <a:r>
                <a:rPr lang="de-DE" sz="1133" b="0" kern="600" baseline="0">
                  <a:solidFill>
                    <a:schemeClr val="bg1"/>
                  </a:solidFill>
                </a:rPr>
                <a:t> formatieren…</a:t>
              </a:r>
            </a:p>
            <a:p>
              <a:pPr marL="153596" indent="-153596">
                <a:buAutoNum type="arabicPeriod"/>
              </a:pPr>
              <a:r>
                <a:rPr lang="de-DE" sz="1133" b="0" kern="600" baseline="0">
                  <a:solidFill>
                    <a:schemeClr val="bg1"/>
                  </a:solidFill>
                </a:rPr>
                <a:t>Aktivieren Sie «Bild- oder Texturfüllung» </a:t>
              </a:r>
              <a:br>
                <a:rPr lang="de-DE" sz="1133" b="0" kern="600" baseline="0">
                  <a:solidFill>
                    <a:schemeClr val="bg1"/>
                  </a:solidFill>
                </a:rPr>
              </a:br>
              <a:r>
                <a:rPr lang="de-DE" sz="1133" b="0" kern="600" baseline="0">
                  <a:solidFill>
                    <a:schemeClr val="bg1"/>
                  </a:solidFill>
                </a:rPr>
                <a:t>und wählen Sie dort das Bild aus</a:t>
              </a:r>
              <a:r>
                <a:rPr lang="de-CH" sz="1133" b="0" kern="600" baseline="0">
                  <a:solidFill>
                    <a:schemeClr val="bg1"/>
                  </a:solidFill>
                </a:rPr>
                <a:t>.</a:t>
              </a:r>
            </a:p>
            <a:p>
              <a:pPr marL="153596" indent="-153596">
                <a:buAutoNum type="arabicPeriod"/>
              </a:pPr>
              <a:r>
                <a:rPr lang="de-CH" sz="1133" b="0" kern="600" baseline="0">
                  <a:solidFill>
                    <a:schemeClr val="bg1"/>
                  </a:solidFill>
                </a:rPr>
                <a:t>Bei «Offset» können Sie das Bild verschieben. Achten Sie darauf, dass Sie das Bild nicht verziehen – Wenn bei «Oben» der Wert erhöht wird, muss der Wert bei «Unten» entsprechend verringert werden.</a:t>
              </a: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95B5EB24-2D14-43AA-88D7-7A4C16AE068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81" t="-6092" r="-2781" b="49412"/>
            <a:stretch/>
          </p:blipFill>
          <p:spPr>
            <a:xfrm flipH="1">
              <a:off x="-2445530" y="2444043"/>
              <a:ext cx="1870234" cy="2338775"/>
            </a:xfrm>
            <a:prstGeom prst="rect">
              <a:avLst/>
            </a:prstGeom>
          </p:spPr>
        </p:pic>
      </p:grp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8C1F4-CC17-4179-ABF6-E1748E66AC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3829" y="1824567"/>
            <a:ext cx="3653371" cy="4726516"/>
          </a:xfrm>
        </p:spPr>
        <p:txBody>
          <a:bodyPr tIns="0" bIns="82800" anchor="b" anchorCtr="0"/>
          <a:lstStyle>
            <a:lvl1pPr>
              <a:lnSpc>
                <a:spcPts val="2067"/>
              </a:lnSpc>
              <a:spcBef>
                <a:spcPts val="0"/>
              </a:spcBef>
              <a:defRPr sz="1533">
                <a:solidFill>
                  <a:schemeClr val="bg1"/>
                </a:solidFill>
                <a:latin typeface="+mj-lt"/>
              </a:defRPr>
            </a:lvl1pPr>
            <a:lvl2pPr marL="153596" indent="-153596">
              <a:lnSpc>
                <a:spcPts val="2067"/>
              </a:lnSpc>
              <a:spcBef>
                <a:spcPts val="0"/>
              </a:spcBef>
              <a:buClrTx/>
              <a:defRPr sz="1533">
                <a:solidFill>
                  <a:schemeClr val="bg1"/>
                </a:solidFill>
              </a:defRPr>
            </a:lvl2pPr>
            <a:lvl3pPr marL="307192" indent="-153596">
              <a:lnSpc>
                <a:spcPts val="2067"/>
              </a:lnSpc>
              <a:spcBef>
                <a:spcPts val="0"/>
              </a:spcBef>
              <a:buClrTx/>
              <a:defRPr sz="1533">
                <a:solidFill>
                  <a:schemeClr val="bg1"/>
                </a:solidFill>
              </a:defRPr>
            </a:lvl3pPr>
            <a:lvl4pPr marL="307192" indent="-307192">
              <a:lnSpc>
                <a:spcPts val="2067"/>
              </a:lnSpc>
              <a:spcBef>
                <a:spcPts val="0"/>
              </a:spcBef>
              <a:defRPr sz="1533">
                <a:solidFill>
                  <a:schemeClr val="bg1"/>
                </a:solidFill>
              </a:defRPr>
            </a:lvl4pPr>
            <a:lvl5pPr marL="614385" indent="-307192">
              <a:lnSpc>
                <a:spcPts val="2067"/>
              </a:lnSpc>
              <a:spcBef>
                <a:spcPts val="0"/>
              </a:spcBef>
              <a:defRPr sz="1533">
                <a:solidFill>
                  <a:schemeClr val="bg1"/>
                </a:solidFill>
              </a:defRPr>
            </a:lvl5pPr>
            <a:lvl6pPr>
              <a:lnSpc>
                <a:spcPts val="2067"/>
              </a:lnSpc>
              <a:spcBef>
                <a:spcPts val="1033"/>
              </a:spcBef>
              <a:defRPr sz="1533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  <a:latin typeface="+mn-lt"/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lnSpc>
                <a:spcPts val="2067"/>
              </a:lnSpc>
              <a:defRPr sz="1533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4442C26-6859-45F0-A33D-37DC8127C5E0}"/>
              </a:ext>
            </a:extLst>
          </p:cNvPr>
          <p:cNvSpPr/>
          <p:nvPr userDrawn="1"/>
        </p:nvSpPr>
        <p:spPr>
          <a:xfrm>
            <a:off x="-3552938" y="3462674"/>
            <a:ext cx="2431249" cy="264577"/>
          </a:xfrm>
          <a:prstGeom prst="rect">
            <a:avLst/>
          </a:prstGeom>
          <a:noFill/>
          <a:ln w="254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FAE64536-D154-4779-995A-5E8C7AD16E41}"/>
              </a:ext>
            </a:extLst>
          </p:cNvPr>
          <p:cNvSpPr/>
          <p:nvPr userDrawn="1"/>
        </p:nvSpPr>
        <p:spPr>
          <a:xfrm>
            <a:off x="-3552938" y="4187825"/>
            <a:ext cx="2431249" cy="539143"/>
          </a:xfrm>
          <a:prstGeom prst="rect">
            <a:avLst/>
          </a:prstGeom>
          <a:noFill/>
          <a:ln w="254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1717B0F3-34A3-4535-937C-ADBDA641D0CF}"/>
              </a:ext>
            </a:extLst>
          </p:cNvPr>
          <p:cNvSpPr txBox="1"/>
          <p:nvPr userDrawn="1"/>
        </p:nvSpPr>
        <p:spPr>
          <a:xfrm>
            <a:off x="-3840000" y="5040001"/>
            <a:ext cx="3360000" cy="1540147"/>
          </a:xfrm>
          <a:prstGeom prst="rect">
            <a:avLst/>
          </a:prstGeom>
          <a:solidFill>
            <a:schemeClr val="accent2"/>
          </a:solidFill>
        </p:spPr>
        <p:txBody>
          <a:bodyPr wrap="square" lIns="144000" tIns="72000" rIns="144000" bIns="72000" rtlCol="0">
            <a:spAutoFit/>
          </a:bodyPr>
          <a:lstStyle/>
          <a:p>
            <a:r>
              <a:rPr lang="de-DE" sz="1133" b="0" kern="600">
                <a:solidFill>
                  <a:schemeClr val="bg1"/>
                </a:solidFill>
                <a:latin typeface="+mj-lt"/>
              </a:rPr>
              <a:t>Enthaltene Textebenen:</a:t>
            </a:r>
          </a:p>
          <a:p>
            <a:r>
              <a:rPr lang="de-DE" sz="1133" b="0" kern="600">
                <a:solidFill>
                  <a:schemeClr val="bg1"/>
                </a:solidFill>
                <a:latin typeface="+mn-lt"/>
              </a:rPr>
              <a:t>Ebene</a:t>
            </a: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 1 = Titel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2 = Auflist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3 = Auflist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4 = Nummerier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5 = Nummerier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6 = Untertitel mit Abstand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7 = Legende</a:t>
            </a:r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68E93DE2-D58A-4F53-98DD-B142C1E269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13829" y="6417600"/>
            <a:ext cx="9523771" cy="240000"/>
          </a:xfrm>
        </p:spPr>
        <p:txBody>
          <a:bodyPr/>
          <a:lstStyle>
            <a:lvl1pPr algn="l">
              <a:defRPr/>
            </a:lvl1pPr>
          </a:lstStyle>
          <a:p>
            <a:pPr algn="l"/>
            <a:endParaRPr lang="de-CH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C29EB19-4D49-4D1E-9799-ACD0B603CEA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84BE2A-AF72-474C-A580-796179F45542}" type="slidenum">
              <a:rPr lang="de-CH" smtClean="0"/>
              <a:pPr/>
              <a:t>‹Nr.›</a:t>
            </a:fld>
            <a:endParaRPr lang="de-CH" kern="600"/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3E4076A7-A842-452F-A926-9059F92CF582}"/>
              </a:ext>
            </a:extLst>
          </p:cNvPr>
          <p:cNvGrpSpPr/>
          <p:nvPr userDrawn="1"/>
        </p:nvGrpSpPr>
        <p:grpSpPr>
          <a:xfrm>
            <a:off x="10136049" y="559791"/>
            <a:ext cx="1440000" cy="404419"/>
            <a:chOff x="-5709525" y="-5645283"/>
            <a:chExt cx="19213689" cy="5396089"/>
          </a:xfrm>
        </p:grpSpPr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5B3229CB-B88D-4EF9-9411-97BE70BB67D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5709525" y="-5645283"/>
              <a:ext cx="19213689" cy="5396089"/>
            </a:xfrm>
            <a:prstGeom prst="rect">
              <a:avLst/>
            </a:prstGeom>
          </p:spPr>
        </p:pic>
        <p:sp>
          <p:nvSpPr>
            <p:cNvPr id="31" name="Freeform 26">
              <a:extLst>
                <a:ext uri="{FF2B5EF4-FFF2-40B4-BE49-F238E27FC236}">
                  <a16:creationId xmlns:a16="http://schemas.microsoft.com/office/drawing/2014/main" id="{E040B119-57F3-4FDE-86ED-4EEF7EC8D4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709525" y="-5645283"/>
              <a:ext cx="1287463" cy="1493837"/>
            </a:xfrm>
            <a:custGeom>
              <a:avLst/>
              <a:gdLst>
                <a:gd name="T0" fmla="*/ 86 w 114"/>
                <a:gd name="T1" fmla="*/ 0 h 132"/>
                <a:gd name="T2" fmla="*/ 1 w 114"/>
                <a:gd name="T3" fmla="*/ 20 h 132"/>
                <a:gd name="T4" fmla="*/ 0 w 114"/>
                <a:gd name="T5" fmla="*/ 31 h 132"/>
                <a:gd name="T6" fmla="*/ 31 w 114"/>
                <a:gd name="T7" fmla="*/ 132 h 132"/>
                <a:gd name="T8" fmla="*/ 114 w 114"/>
                <a:gd name="T9" fmla="*/ 115 h 132"/>
                <a:gd name="T10" fmla="*/ 114 w 114"/>
                <a:gd name="T11" fmla="*/ 106 h 132"/>
                <a:gd name="T12" fmla="*/ 94 w 114"/>
                <a:gd name="T13" fmla="*/ 0 h 132"/>
                <a:gd name="T14" fmla="*/ 86 w 114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32">
                  <a:moveTo>
                    <a:pt x="86" y="0"/>
                  </a:moveTo>
                  <a:cubicBezTo>
                    <a:pt x="52" y="0"/>
                    <a:pt x="25" y="8"/>
                    <a:pt x="1" y="20"/>
                  </a:cubicBezTo>
                  <a:cubicBezTo>
                    <a:pt x="1" y="23"/>
                    <a:pt x="0" y="25"/>
                    <a:pt x="0" y="31"/>
                  </a:cubicBezTo>
                  <a:cubicBezTo>
                    <a:pt x="0" y="56"/>
                    <a:pt x="18" y="102"/>
                    <a:pt x="31" y="132"/>
                  </a:cubicBezTo>
                  <a:cubicBezTo>
                    <a:pt x="56" y="132"/>
                    <a:pt x="92" y="125"/>
                    <a:pt x="114" y="115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81"/>
                    <a:pt x="113" y="24"/>
                    <a:pt x="94" y="0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sz="2400"/>
            </a:p>
          </p:txBody>
        </p:sp>
      </p:grpSp>
    </p:spTree>
    <p:extLst>
      <p:ext uri="{BB962C8B-B14F-4D97-AF65-F5344CB8AC3E}">
        <p14:creationId xmlns:p14="http://schemas.microsoft.com/office/powerpoint/2010/main" val="6898785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18">
          <p15:clr>
            <a:srgbClr val="5ACBF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1 picture and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>
            <a:extLst>
              <a:ext uri="{FF2B5EF4-FFF2-40B4-BE49-F238E27FC236}">
                <a16:creationId xmlns:a16="http://schemas.microsoft.com/office/drawing/2014/main" id="{88D3D1E1-17A4-47DC-9528-97498B70D95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1F3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34B7E63D-A795-4C5F-816D-9092579F53C0}"/>
              </a:ext>
            </a:extLst>
          </p:cNvPr>
          <p:cNvSpPr/>
          <p:nvPr userDrawn="1"/>
        </p:nvSpPr>
        <p:spPr>
          <a:xfrm>
            <a:off x="0" y="313267"/>
            <a:ext cx="12192000" cy="8974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1EDD600C-1942-4012-BB0E-5AF8E9A87AB5}"/>
              </a:ext>
            </a:extLst>
          </p:cNvPr>
          <p:cNvSpPr/>
          <p:nvPr userDrawn="1"/>
        </p:nvSpPr>
        <p:spPr>
          <a:xfrm>
            <a:off x="0" y="313267"/>
            <a:ext cx="124800" cy="8974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CEF133EA-A09F-4144-B542-D1A3A7EC592A}"/>
              </a:ext>
            </a:extLst>
          </p:cNvPr>
          <p:cNvGrpSpPr/>
          <p:nvPr userDrawn="1"/>
        </p:nvGrpSpPr>
        <p:grpSpPr>
          <a:xfrm>
            <a:off x="10136049" y="559791"/>
            <a:ext cx="1440000" cy="404419"/>
            <a:chOff x="-5709525" y="-5645283"/>
            <a:chExt cx="19213689" cy="5396089"/>
          </a:xfrm>
        </p:grpSpPr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89C49703-2429-465D-A755-0BFEE48B834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5709525" y="-5645283"/>
              <a:ext cx="19213689" cy="5396089"/>
            </a:xfrm>
            <a:prstGeom prst="rect">
              <a:avLst/>
            </a:prstGeom>
          </p:spPr>
        </p:pic>
        <p:sp>
          <p:nvSpPr>
            <p:cNvPr id="32" name="Freeform 26">
              <a:extLst>
                <a:ext uri="{FF2B5EF4-FFF2-40B4-BE49-F238E27FC236}">
                  <a16:creationId xmlns:a16="http://schemas.microsoft.com/office/drawing/2014/main" id="{8C1A89DC-EAB4-4531-857B-1B88143783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709525" y="-5645283"/>
              <a:ext cx="1287463" cy="1493837"/>
            </a:xfrm>
            <a:custGeom>
              <a:avLst/>
              <a:gdLst>
                <a:gd name="T0" fmla="*/ 86 w 114"/>
                <a:gd name="T1" fmla="*/ 0 h 132"/>
                <a:gd name="T2" fmla="*/ 1 w 114"/>
                <a:gd name="T3" fmla="*/ 20 h 132"/>
                <a:gd name="T4" fmla="*/ 0 w 114"/>
                <a:gd name="T5" fmla="*/ 31 h 132"/>
                <a:gd name="T6" fmla="*/ 31 w 114"/>
                <a:gd name="T7" fmla="*/ 132 h 132"/>
                <a:gd name="T8" fmla="*/ 114 w 114"/>
                <a:gd name="T9" fmla="*/ 115 h 132"/>
                <a:gd name="T10" fmla="*/ 114 w 114"/>
                <a:gd name="T11" fmla="*/ 106 h 132"/>
                <a:gd name="T12" fmla="*/ 94 w 114"/>
                <a:gd name="T13" fmla="*/ 0 h 132"/>
                <a:gd name="T14" fmla="*/ 86 w 114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32">
                  <a:moveTo>
                    <a:pt x="86" y="0"/>
                  </a:moveTo>
                  <a:cubicBezTo>
                    <a:pt x="52" y="0"/>
                    <a:pt x="25" y="8"/>
                    <a:pt x="1" y="20"/>
                  </a:cubicBezTo>
                  <a:cubicBezTo>
                    <a:pt x="1" y="23"/>
                    <a:pt x="0" y="25"/>
                    <a:pt x="0" y="31"/>
                  </a:cubicBezTo>
                  <a:cubicBezTo>
                    <a:pt x="0" y="56"/>
                    <a:pt x="18" y="102"/>
                    <a:pt x="31" y="132"/>
                  </a:cubicBezTo>
                  <a:cubicBezTo>
                    <a:pt x="56" y="132"/>
                    <a:pt x="92" y="125"/>
                    <a:pt x="114" y="115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81"/>
                    <a:pt x="113" y="24"/>
                    <a:pt x="94" y="0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sz="240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eingeben</a:t>
            </a:r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E3894A0-E343-4559-A922-B591527E420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613829" y="6417600"/>
            <a:ext cx="9523771" cy="240000"/>
          </a:xfrm>
        </p:spPr>
        <p:txBody>
          <a:bodyPr/>
          <a:lstStyle>
            <a:lvl1pPr algn="l">
              <a:defRPr/>
            </a:lvl1pPr>
          </a:lstStyle>
          <a:p>
            <a:pPr algn="l"/>
            <a:endParaRPr lang="de-CH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C9A4044-7C30-4E00-9972-A0866BF788B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B84BE2A-AF72-474C-A580-796179F45542}" type="slidenum">
              <a:rPr lang="de-CH" smtClean="0"/>
              <a:pPr/>
              <a:t>‹Nr.›</a:t>
            </a:fld>
            <a:endParaRPr lang="de-CH" kern="600"/>
          </a:p>
        </p:txBody>
      </p:sp>
      <p:sp>
        <p:nvSpPr>
          <p:cNvPr id="15" name="Bildplatzhalter 6">
            <a:extLst>
              <a:ext uri="{FF2B5EF4-FFF2-40B4-BE49-F238E27FC236}">
                <a16:creationId xmlns:a16="http://schemas.microsoft.com/office/drawing/2014/main" id="{06BF718F-FC5B-4EDB-A31B-2EA0B91ED11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13830" y="1824563"/>
            <a:ext cx="5327655" cy="4417488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ts val="2067"/>
              </a:lnSpc>
              <a:spcBef>
                <a:spcPts val="0"/>
              </a:spcBef>
              <a:defRPr sz="1533" baseline="0">
                <a:latin typeface="+mj-lt"/>
              </a:defRPr>
            </a:lvl1pPr>
          </a:lstStyle>
          <a:p>
            <a:r>
              <a:rPr lang="de-CH"/>
              <a:t>Klicken Sie auf das Bild-Symbol in der Mitte um ein Bild hier zu platzier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5B907AE-511B-4F88-A82E-69DDFCDDF87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48397" y="1824563"/>
            <a:ext cx="5327655" cy="4417488"/>
          </a:xfrm>
        </p:spPr>
        <p:txBody>
          <a:bodyPr/>
          <a:lstStyle>
            <a:lvl5pPr>
              <a:defRPr/>
            </a:lvl5pPr>
            <a:lvl8pPr>
              <a:defRPr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4F1436F-238E-4485-BE86-198820D03222}"/>
              </a:ext>
            </a:extLst>
          </p:cNvPr>
          <p:cNvSpPr txBox="1"/>
          <p:nvPr userDrawn="1"/>
        </p:nvSpPr>
        <p:spPr>
          <a:xfrm>
            <a:off x="-3840000" y="4171201"/>
            <a:ext cx="3360000" cy="1714490"/>
          </a:xfrm>
          <a:prstGeom prst="rect">
            <a:avLst/>
          </a:prstGeom>
          <a:solidFill>
            <a:schemeClr val="accent2"/>
          </a:solidFill>
        </p:spPr>
        <p:txBody>
          <a:bodyPr wrap="square" lIns="144000" tIns="72000" rIns="144000" bIns="72000" rtlCol="0">
            <a:spAutoFit/>
          </a:bodyPr>
          <a:lstStyle/>
          <a:p>
            <a:r>
              <a:rPr lang="de-DE" sz="1133" b="0" kern="600">
                <a:solidFill>
                  <a:schemeClr val="bg1"/>
                </a:solidFill>
                <a:latin typeface="+mj-lt"/>
              </a:rPr>
              <a:t>Enthaltene Textebenen:</a:t>
            </a:r>
          </a:p>
          <a:p>
            <a:r>
              <a:rPr lang="de-DE" sz="1133" b="0" kern="600">
                <a:solidFill>
                  <a:schemeClr val="bg1"/>
                </a:solidFill>
                <a:latin typeface="+mn-lt"/>
              </a:rPr>
              <a:t>Ebene</a:t>
            </a: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 1 = Normaler Tex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2 = Auflist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3 = Auflist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4 = Nummerier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5 = Nummerier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6 = Untertitel mit Abstand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7 = Kleiner Text, fett (Legenden-Titel)</a:t>
            </a:r>
            <a:endParaRPr lang="de-CH" sz="1133" b="0" kern="600">
              <a:solidFill>
                <a:schemeClr val="bg1"/>
              </a:solidFill>
              <a:latin typeface="+mn-lt"/>
            </a:endParaRP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8 = Kleiner Text (Legenden)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90353422-C43D-45C6-9416-1431DEE1F232}"/>
              </a:ext>
            </a:extLst>
          </p:cNvPr>
          <p:cNvGrpSpPr/>
          <p:nvPr userDrawn="1"/>
        </p:nvGrpSpPr>
        <p:grpSpPr>
          <a:xfrm flipH="1">
            <a:off x="-3840000" y="313267"/>
            <a:ext cx="3360000" cy="3770250"/>
            <a:chOff x="-2880000" y="1428750"/>
            <a:chExt cx="2520000" cy="2827687"/>
          </a:xfrm>
        </p:grpSpPr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D5B29FCF-CE03-4B3A-818E-AADEFE4DFFF4}"/>
                </a:ext>
              </a:extLst>
            </p:cNvPr>
            <p:cNvSpPr txBox="1"/>
            <p:nvPr userDrawn="1"/>
          </p:nvSpPr>
          <p:spPr>
            <a:xfrm flipH="1">
              <a:off x="-2880000" y="1428750"/>
              <a:ext cx="2520000" cy="2827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108000" tIns="54000" rIns="108000" bIns="54000" rtlCol="0">
              <a:spAutoFit/>
            </a:bodyPr>
            <a:lstStyle/>
            <a:p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Bilder einfügen:</a:t>
              </a:r>
            </a:p>
            <a:p>
              <a:pPr marL="153596" indent="-153596">
                <a:buAutoNum type="arabicPeriod"/>
              </a:pPr>
              <a:r>
                <a:rPr lang="de-DE" sz="1133" b="0" kern="600" baseline="0">
                  <a:solidFill>
                    <a:schemeClr val="bg1"/>
                  </a:solidFill>
                </a:rPr>
                <a:t>Löschen Sie das ggf. bereits vorhandene Bild</a:t>
              </a:r>
            </a:p>
            <a:p>
              <a:pPr marL="153596" indent="-153596">
                <a:buAutoNum type="arabicPeriod"/>
              </a:pPr>
              <a:r>
                <a:rPr lang="de-DE" sz="1133" b="0" kern="600" baseline="0">
                  <a:solidFill>
                    <a:schemeClr val="bg1"/>
                  </a:solidFill>
                </a:rPr>
                <a:t>Klicken Sie auf das Bild-Symbol in der Mitte </a:t>
              </a:r>
              <a:br>
                <a:rPr lang="de-DE" sz="1133" b="0" kern="600" baseline="0">
                  <a:solidFill>
                    <a:schemeClr val="bg1"/>
                  </a:solidFill>
                </a:rPr>
              </a:br>
              <a:r>
                <a:rPr lang="de-DE" sz="1133" b="0" kern="600" baseline="0">
                  <a:solidFill>
                    <a:schemeClr val="bg1"/>
                  </a:solidFill>
                </a:rPr>
                <a:t>des Platzhalters</a:t>
              </a: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r>
                <a:rPr lang="de-DE" sz="1133" b="0" kern="600" baseline="0">
                  <a:solidFill>
                    <a:schemeClr val="bg1"/>
                  </a:solidFill>
                </a:rPr>
                <a:t>Nachdem Sie Ihr Bild platziert haben, können Sie es über »Bildtools -&gt; Zuschneiden« innerhalb der hier definierten »</a:t>
              </a:r>
              <a:r>
                <a:rPr lang="de-DE" sz="1133" b="0" kern="600" baseline="0" err="1">
                  <a:solidFill>
                    <a:schemeClr val="bg1"/>
                  </a:solidFill>
                </a:rPr>
                <a:t>Bildbox</a:t>
              </a:r>
              <a:r>
                <a:rPr lang="de-DE" sz="1133" b="0" kern="600" baseline="0">
                  <a:solidFill>
                    <a:schemeClr val="bg1"/>
                  </a:solidFill>
                </a:rPr>
                <a:t>« verschieben und/oder beschneiden. Die enthaltenen Hilfslinien helfen bei der richtigen Positionierung.</a:t>
              </a:r>
              <a:r>
                <a:rPr lang="de-CH" sz="1133" b="0" kern="600" baseline="0">
                  <a:solidFill>
                    <a:schemeClr val="bg1"/>
                  </a:solidFill>
                </a:rPr>
                <a:t> Durch Klicken auf »Einpassen« wird das Bild passend skaliert.</a:t>
              </a: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</p:txBody>
        </p:sp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AF6527C9-3662-4058-A994-1FF8CEA9A98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p:blipFill>
          <p:spPr>
            <a:xfrm flipH="1">
              <a:off x="-1589225" y="3001763"/>
              <a:ext cx="1088246" cy="114392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3481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2807">
          <p15:clr>
            <a:srgbClr val="FBAE40"/>
          </p15:clr>
        </p15:guide>
        <p15:guide id="4" pos="2952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1 shape and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>
            <a:extLst>
              <a:ext uri="{FF2B5EF4-FFF2-40B4-BE49-F238E27FC236}">
                <a16:creationId xmlns:a16="http://schemas.microsoft.com/office/drawing/2014/main" id="{88D3D1E1-17A4-47DC-9528-97498B70D95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1F3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34B7E63D-A795-4C5F-816D-9092579F53C0}"/>
              </a:ext>
            </a:extLst>
          </p:cNvPr>
          <p:cNvSpPr/>
          <p:nvPr userDrawn="1"/>
        </p:nvSpPr>
        <p:spPr>
          <a:xfrm>
            <a:off x="0" y="313267"/>
            <a:ext cx="12192000" cy="8974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1EDD600C-1942-4012-BB0E-5AF8E9A87AB5}"/>
              </a:ext>
            </a:extLst>
          </p:cNvPr>
          <p:cNvSpPr/>
          <p:nvPr userDrawn="1"/>
        </p:nvSpPr>
        <p:spPr>
          <a:xfrm>
            <a:off x="0" y="313267"/>
            <a:ext cx="124800" cy="8974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CEF133EA-A09F-4144-B542-D1A3A7EC592A}"/>
              </a:ext>
            </a:extLst>
          </p:cNvPr>
          <p:cNvGrpSpPr/>
          <p:nvPr userDrawn="1"/>
        </p:nvGrpSpPr>
        <p:grpSpPr>
          <a:xfrm>
            <a:off x="10136049" y="559791"/>
            <a:ext cx="1440000" cy="404419"/>
            <a:chOff x="-5709525" y="-5645283"/>
            <a:chExt cx="19213689" cy="5396089"/>
          </a:xfrm>
        </p:grpSpPr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89C49703-2429-465D-A755-0BFEE48B834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5709525" y="-5645283"/>
              <a:ext cx="19213689" cy="5396089"/>
            </a:xfrm>
            <a:prstGeom prst="rect">
              <a:avLst/>
            </a:prstGeom>
          </p:spPr>
        </p:pic>
        <p:sp>
          <p:nvSpPr>
            <p:cNvPr id="32" name="Freeform 26">
              <a:extLst>
                <a:ext uri="{FF2B5EF4-FFF2-40B4-BE49-F238E27FC236}">
                  <a16:creationId xmlns:a16="http://schemas.microsoft.com/office/drawing/2014/main" id="{8C1A89DC-EAB4-4531-857B-1B88143783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709525" y="-5645283"/>
              <a:ext cx="1287463" cy="1493837"/>
            </a:xfrm>
            <a:custGeom>
              <a:avLst/>
              <a:gdLst>
                <a:gd name="T0" fmla="*/ 86 w 114"/>
                <a:gd name="T1" fmla="*/ 0 h 132"/>
                <a:gd name="T2" fmla="*/ 1 w 114"/>
                <a:gd name="T3" fmla="*/ 20 h 132"/>
                <a:gd name="T4" fmla="*/ 0 w 114"/>
                <a:gd name="T5" fmla="*/ 31 h 132"/>
                <a:gd name="T6" fmla="*/ 31 w 114"/>
                <a:gd name="T7" fmla="*/ 132 h 132"/>
                <a:gd name="T8" fmla="*/ 114 w 114"/>
                <a:gd name="T9" fmla="*/ 115 h 132"/>
                <a:gd name="T10" fmla="*/ 114 w 114"/>
                <a:gd name="T11" fmla="*/ 106 h 132"/>
                <a:gd name="T12" fmla="*/ 94 w 114"/>
                <a:gd name="T13" fmla="*/ 0 h 132"/>
                <a:gd name="T14" fmla="*/ 86 w 114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32">
                  <a:moveTo>
                    <a:pt x="86" y="0"/>
                  </a:moveTo>
                  <a:cubicBezTo>
                    <a:pt x="52" y="0"/>
                    <a:pt x="25" y="8"/>
                    <a:pt x="1" y="20"/>
                  </a:cubicBezTo>
                  <a:cubicBezTo>
                    <a:pt x="1" y="23"/>
                    <a:pt x="0" y="25"/>
                    <a:pt x="0" y="31"/>
                  </a:cubicBezTo>
                  <a:cubicBezTo>
                    <a:pt x="0" y="56"/>
                    <a:pt x="18" y="102"/>
                    <a:pt x="31" y="132"/>
                  </a:cubicBezTo>
                  <a:cubicBezTo>
                    <a:pt x="56" y="132"/>
                    <a:pt x="92" y="125"/>
                    <a:pt x="114" y="115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81"/>
                    <a:pt x="113" y="24"/>
                    <a:pt x="94" y="0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sz="240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eingeben</a:t>
            </a:r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E3894A0-E343-4559-A922-B591527E420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613829" y="6417600"/>
            <a:ext cx="9523771" cy="240000"/>
          </a:xfrm>
        </p:spPr>
        <p:txBody>
          <a:bodyPr/>
          <a:lstStyle>
            <a:lvl1pPr algn="l">
              <a:defRPr/>
            </a:lvl1pPr>
          </a:lstStyle>
          <a:p>
            <a:pPr algn="l"/>
            <a:endParaRPr lang="de-CH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C9A4044-7C30-4E00-9972-A0866BF788B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B84BE2A-AF72-474C-A580-796179F45542}" type="slidenum">
              <a:rPr lang="de-CH" smtClean="0"/>
              <a:pPr/>
              <a:t>‹Nr.›</a:t>
            </a:fld>
            <a:endParaRPr lang="de-CH" kern="600"/>
          </a:p>
        </p:txBody>
      </p:sp>
      <p:sp>
        <p:nvSpPr>
          <p:cNvPr id="15" name="Bildplatzhalter 6">
            <a:extLst>
              <a:ext uri="{FF2B5EF4-FFF2-40B4-BE49-F238E27FC236}">
                <a16:creationId xmlns:a16="http://schemas.microsoft.com/office/drawing/2014/main" id="{06BF718F-FC5B-4EDB-A31B-2EA0B91ED11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619433" y="1816246"/>
            <a:ext cx="3845987" cy="4440276"/>
          </a:xfrm>
          <a:custGeom>
            <a:avLst/>
            <a:gdLst>
              <a:gd name="connsiteX0" fmla="*/ 0 w 3995741"/>
              <a:gd name="connsiteY0" fmla="*/ 0 h 3313116"/>
              <a:gd name="connsiteX1" fmla="*/ 3995741 w 3995741"/>
              <a:gd name="connsiteY1" fmla="*/ 0 h 3313116"/>
              <a:gd name="connsiteX2" fmla="*/ 3995741 w 3995741"/>
              <a:gd name="connsiteY2" fmla="*/ 3313116 h 3313116"/>
              <a:gd name="connsiteX3" fmla="*/ 0 w 3995741"/>
              <a:gd name="connsiteY3" fmla="*/ 3313116 h 3313116"/>
              <a:gd name="connsiteX4" fmla="*/ 0 w 3995741"/>
              <a:gd name="connsiteY4" fmla="*/ 0 h 3313116"/>
              <a:gd name="connsiteX0" fmla="*/ 24421 w 3995741"/>
              <a:gd name="connsiteY0" fmla="*/ 504684 h 3313116"/>
              <a:gd name="connsiteX1" fmla="*/ 3995741 w 3995741"/>
              <a:gd name="connsiteY1" fmla="*/ 0 h 3313116"/>
              <a:gd name="connsiteX2" fmla="*/ 3995741 w 3995741"/>
              <a:gd name="connsiteY2" fmla="*/ 3313116 h 3313116"/>
              <a:gd name="connsiteX3" fmla="*/ 0 w 3995741"/>
              <a:gd name="connsiteY3" fmla="*/ 3313116 h 3313116"/>
              <a:gd name="connsiteX4" fmla="*/ 24421 w 3995741"/>
              <a:gd name="connsiteY4" fmla="*/ 504684 h 3313116"/>
              <a:gd name="connsiteX0" fmla="*/ 24421 w 3995741"/>
              <a:gd name="connsiteY0" fmla="*/ 504684 h 3313116"/>
              <a:gd name="connsiteX1" fmla="*/ 2375869 w 3995741"/>
              <a:gd name="connsiteY1" fmla="*/ 0 h 3313116"/>
              <a:gd name="connsiteX2" fmla="*/ 3995741 w 3995741"/>
              <a:gd name="connsiteY2" fmla="*/ 3313116 h 3313116"/>
              <a:gd name="connsiteX3" fmla="*/ 0 w 3995741"/>
              <a:gd name="connsiteY3" fmla="*/ 3313116 h 3313116"/>
              <a:gd name="connsiteX4" fmla="*/ 24421 w 3995741"/>
              <a:gd name="connsiteY4" fmla="*/ 504684 h 3313116"/>
              <a:gd name="connsiteX0" fmla="*/ 24421 w 2888693"/>
              <a:gd name="connsiteY0" fmla="*/ 504684 h 3313116"/>
              <a:gd name="connsiteX1" fmla="*/ 2375869 w 2888693"/>
              <a:gd name="connsiteY1" fmla="*/ 0 h 3313116"/>
              <a:gd name="connsiteX2" fmla="*/ 2888693 w 2888693"/>
              <a:gd name="connsiteY2" fmla="*/ 2897973 h 3313116"/>
              <a:gd name="connsiteX3" fmla="*/ 0 w 2888693"/>
              <a:gd name="connsiteY3" fmla="*/ 3313116 h 3313116"/>
              <a:gd name="connsiteX4" fmla="*/ 24421 w 2888693"/>
              <a:gd name="connsiteY4" fmla="*/ 504684 h 3313116"/>
              <a:gd name="connsiteX0" fmla="*/ 0 w 2864272"/>
              <a:gd name="connsiteY0" fmla="*/ 504684 h 3323970"/>
              <a:gd name="connsiteX1" fmla="*/ 2351448 w 2864272"/>
              <a:gd name="connsiteY1" fmla="*/ 0 h 3323970"/>
              <a:gd name="connsiteX2" fmla="*/ 2864272 w 2864272"/>
              <a:gd name="connsiteY2" fmla="*/ 2897973 h 3323970"/>
              <a:gd name="connsiteX3" fmla="*/ 757024 w 2864272"/>
              <a:gd name="connsiteY3" fmla="*/ 3323970 h 3323970"/>
              <a:gd name="connsiteX4" fmla="*/ 0 w 2864272"/>
              <a:gd name="connsiteY4" fmla="*/ 504684 h 3323970"/>
              <a:gd name="connsiteX0" fmla="*/ 0 w 2864272"/>
              <a:gd name="connsiteY0" fmla="*/ 504684 h 3323970"/>
              <a:gd name="connsiteX1" fmla="*/ 2351448 w 2864272"/>
              <a:gd name="connsiteY1" fmla="*/ 0 h 3323970"/>
              <a:gd name="connsiteX2" fmla="*/ 2864272 w 2864272"/>
              <a:gd name="connsiteY2" fmla="*/ 2897973 h 3323970"/>
              <a:gd name="connsiteX3" fmla="*/ 757024 w 2864272"/>
              <a:gd name="connsiteY3" fmla="*/ 3323970 h 3323970"/>
              <a:gd name="connsiteX4" fmla="*/ 0 w 2864272"/>
              <a:gd name="connsiteY4" fmla="*/ 504684 h 3323970"/>
              <a:gd name="connsiteX0" fmla="*/ 0 w 2864272"/>
              <a:gd name="connsiteY0" fmla="*/ 504684 h 3323970"/>
              <a:gd name="connsiteX1" fmla="*/ 2351448 w 2864272"/>
              <a:gd name="connsiteY1" fmla="*/ 0 h 3323970"/>
              <a:gd name="connsiteX2" fmla="*/ 2864272 w 2864272"/>
              <a:gd name="connsiteY2" fmla="*/ 2897973 h 3323970"/>
              <a:gd name="connsiteX3" fmla="*/ 757024 w 2864272"/>
              <a:gd name="connsiteY3" fmla="*/ 3323970 h 3323970"/>
              <a:gd name="connsiteX4" fmla="*/ 0 w 2864272"/>
              <a:gd name="connsiteY4" fmla="*/ 504684 h 3323970"/>
              <a:gd name="connsiteX0" fmla="*/ 0 w 2864272"/>
              <a:gd name="connsiteY0" fmla="*/ 504684 h 3323970"/>
              <a:gd name="connsiteX1" fmla="*/ 2351448 w 2864272"/>
              <a:gd name="connsiteY1" fmla="*/ 0 h 3323970"/>
              <a:gd name="connsiteX2" fmla="*/ 2864272 w 2864272"/>
              <a:gd name="connsiteY2" fmla="*/ 2897973 h 3323970"/>
              <a:gd name="connsiteX3" fmla="*/ 757024 w 2864272"/>
              <a:gd name="connsiteY3" fmla="*/ 3323970 h 3323970"/>
              <a:gd name="connsiteX4" fmla="*/ 0 w 2864272"/>
              <a:gd name="connsiteY4" fmla="*/ 504684 h 3323970"/>
              <a:gd name="connsiteX0" fmla="*/ 0 w 2864272"/>
              <a:gd name="connsiteY0" fmla="*/ 504684 h 3323970"/>
              <a:gd name="connsiteX1" fmla="*/ 2351448 w 2864272"/>
              <a:gd name="connsiteY1" fmla="*/ 0 h 3323970"/>
              <a:gd name="connsiteX2" fmla="*/ 2864272 w 2864272"/>
              <a:gd name="connsiteY2" fmla="*/ 2897973 h 3323970"/>
              <a:gd name="connsiteX3" fmla="*/ 757024 w 2864272"/>
              <a:gd name="connsiteY3" fmla="*/ 3323970 h 3323970"/>
              <a:gd name="connsiteX4" fmla="*/ 0 w 2864272"/>
              <a:gd name="connsiteY4" fmla="*/ 504684 h 3323970"/>
              <a:gd name="connsiteX0" fmla="*/ 0 w 2866924"/>
              <a:gd name="connsiteY0" fmla="*/ 504684 h 3323970"/>
              <a:gd name="connsiteX1" fmla="*/ 2351448 w 2866924"/>
              <a:gd name="connsiteY1" fmla="*/ 0 h 3323970"/>
              <a:gd name="connsiteX2" fmla="*/ 2864272 w 2866924"/>
              <a:gd name="connsiteY2" fmla="*/ 2897973 h 3323970"/>
              <a:gd name="connsiteX3" fmla="*/ 757024 w 2866924"/>
              <a:gd name="connsiteY3" fmla="*/ 3323970 h 3323970"/>
              <a:gd name="connsiteX4" fmla="*/ 0 w 2866924"/>
              <a:gd name="connsiteY4" fmla="*/ 504684 h 3323970"/>
              <a:gd name="connsiteX0" fmla="*/ 0 w 2870898"/>
              <a:gd name="connsiteY0" fmla="*/ 504684 h 3323970"/>
              <a:gd name="connsiteX1" fmla="*/ 2351448 w 2870898"/>
              <a:gd name="connsiteY1" fmla="*/ 0 h 3323970"/>
              <a:gd name="connsiteX2" fmla="*/ 2864272 w 2870898"/>
              <a:gd name="connsiteY2" fmla="*/ 2897973 h 3323970"/>
              <a:gd name="connsiteX3" fmla="*/ 757024 w 2870898"/>
              <a:gd name="connsiteY3" fmla="*/ 3323970 h 3323970"/>
              <a:gd name="connsiteX4" fmla="*/ 0 w 2870898"/>
              <a:gd name="connsiteY4" fmla="*/ 504684 h 3323970"/>
              <a:gd name="connsiteX0" fmla="*/ 0 w 2864272"/>
              <a:gd name="connsiteY0" fmla="*/ 504684 h 3323970"/>
              <a:gd name="connsiteX1" fmla="*/ 2351448 w 2864272"/>
              <a:gd name="connsiteY1" fmla="*/ 0 h 3323970"/>
              <a:gd name="connsiteX2" fmla="*/ 2864272 w 2864272"/>
              <a:gd name="connsiteY2" fmla="*/ 2897973 h 3323970"/>
              <a:gd name="connsiteX3" fmla="*/ 757024 w 2864272"/>
              <a:gd name="connsiteY3" fmla="*/ 3323970 h 3323970"/>
              <a:gd name="connsiteX4" fmla="*/ 0 w 2864272"/>
              <a:gd name="connsiteY4" fmla="*/ 504684 h 3323970"/>
              <a:gd name="connsiteX0" fmla="*/ 0 w 2864272"/>
              <a:gd name="connsiteY0" fmla="*/ 508928 h 3328214"/>
              <a:gd name="connsiteX1" fmla="*/ 2351448 w 2864272"/>
              <a:gd name="connsiteY1" fmla="*/ 4244 h 3328214"/>
              <a:gd name="connsiteX2" fmla="*/ 2864272 w 2864272"/>
              <a:gd name="connsiteY2" fmla="*/ 2902217 h 3328214"/>
              <a:gd name="connsiteX3" fmla="*/ 757024 w 2864272"/>
              <a:gd name="connsiteY3" fmla="*/ 3328214 h 3328214"/>
              <a:gd name="connsiteX4" fmla="*/ 0 w 2864272"/>
              <a:gd name="connsiteY4" fmla="*/ 508928 h 3328214"/>
              <a:gd name="connsiteX0" fmla="*/ 0 w 2864272"/>
              <a:gd name="connsiteY0" fmla="*/ 511596 h 3330882"/>
              <a:gd name="connsiteX1" fmla="*/ 2351448 w 2864272"/>
              <a:gd name="connsiteY1" fmla="*/ 6912 h 3330882"/>
              <a:gd name="connsiteX2" fmla="*/ 2864272 w 2864272"/>
              <a:gd name="connsiteY2" fmla="*/ 2904885 h 3330882"/>
              <a:gd name="connsiteX3" fmla="*/ 757024 w 2864272"/>
              <a:gd name="connsiteY3" fmla="*/ 3330882 h 3330882"/>
              <a:gd name="connsiteX4" fmla="*/ 0 w 2864272"/>
              <a:gd name="connsiteY4" fmla="*/ 511596 h 3330882"/>
              <a:gd name="connsiteX0" fmla="*/ 0 w 2864272"/>
              <a:gd name="connsiteY0" fmla="*/ 510972 h 3330258"/>
              <a:gd name="connsiteX1" fmla="*/ 2351448 w 2864272"/>
              <a:gd name="connsiteY1" fmla="*/ 6288 h 3330258"/>
              <a:gd name="connsiteX2" fmla="*/ 2864272 w 2864272"/>
              <a:gd name="connsiteY2" fmla="*/ 2904261 h 3330258"/>
              <a:gd name="connsiteX3" fmla="*/ 757024 w 2864272"/>
              <a:gd name="connsiteY3" fmla="*/ 3330258 h 3330258"/>
              <a:gd name="connsiteX4" fmla="*/ 0 w 2864272"/>
              <a:gd name="connsiteY4" fmla="*/ 510972 h 3330258"/>
              <a:gd name="connsiteX0" fmla="*/ 0 w 2864272"/>
              <a:gd name="connsiteY0" fmla="*/ 509782 h 3329068"/>
              <a:gd name="connsiteX1" fmla="*/ 2351448 w 2864272"/>
              <a:gd name="connsiteY1" fmla="*/ 5098 h 3329068"/>
              <a:gd name="connsiteX2" fmla="*/ 2864272 w 2864272"/>
              <a:gd name="connsiteY2" fmla="*/ 2903071 h 3329068"/>
              <a:gd name="connsiteX3" fmla="*/ 757024 w 2864272"/>
              <a:gd name="connsiteY3" fmla="*/ 3329068 h 3329068"/>
              <a:gd name="connsiteX4" fmla="*/ 0 w 2864272"/>
              <a:gd name="connsiteY4" fmla="*/ 509782 h 3329068"/>
              <a:gd name="connsiteX0" fmla="*/ 0 w 2864272"/>
              <a:gd name="connsiteY0" fmla="*/ 510921 h 3330207"/>
              <a:gd name="connsiteX1" fmla="*/ 2351448 w 2864272"/>
              <a:gd name="connsiteY1" fmla="*/ 6237 h 3330207"/>
              <a:gd name="connsiteX2" fmla="*/ 2864272 w 2864272"/>
              <a:gd name="connsiteY2" fmla="*/ 2904210 h 3330207"/>
              <a:gd name="connsiteX3" fmla="*/ 757024 w 2864272"/>
              <a:gd name="connsiteY3" fmla="*/ 3330207 h 3330207"/>
              <a:gd name="connsiteX4" fmla="*/ 0 w 2864272"/>
              <a:gd name="connsiteY4" fmla="*/ 510921 h 3330207"/>
              <a:gd name="connsiteX0" fmla="*/ 5541 w 2869813"/>
              <a:gd name="connsiteY0" fmla="*/ 510921 h 3330207"/>
              <a:gd name="connsiteX1" fmla="*/ 2356989 w 2869813"/>
              <a:gd name="connsiteY1" fmla="*/ 6237 h 3330207"/>
              <a:gd name="connsiteX2" fmla="*/ 2869813 w 2869813"/>
              <a:gd name="connsiteY2" fmla="*/ 2904210 h 3330207"/>
              <a:gd name="connsiteX3" fmla="*/ 762565 w 2869813"/>
              <a:gd name="connsiteY3" fmla="*/ 3330207 h 3330207"/>
              <a:gd name="connsiteX4" fmla="*/ 5541 w 2869813"/>
              <a:gd name="connsiteY4" fmla="*/ 510921 h 3330207"/>
              <a:gd name="connsiteX0" fmla="*/ 20218 w 2884490"/>
              <a:gd name="connsiteY0" fmla="*/ 510921 h 3330207"/>
              <a:gd name="connsiteX1" fmla="*/ 2371666 w 2884490"/>
              <a:gd name="connsiteY1" fmla="*/ 6237 h 3330207"/>
              <a:gd name="connsiteX2" fmla="*/ 2884490 w 2884490"/>
              <a:gd name="connsiteY2" fmla="*/ 2904210 h 3330207"/>
              <a:gd name="connsiteX3" fmla="*/ 777242 w 2884490"/>
              <a:gd name="connsiteY3" fmla="*/ 3330207 h 3330207"/>
              <a:gd name="connsiteX4" fmla="*/ 20218 w 2884490"/>
              <a:gd name="connsiteY4" fmla="*/ 510921 h 3330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4490" h="3330207">
                <a:moveTo>
                  <a:pt x="20218" y="510921"/>
                </a:moveTo>
                <a:cubicBezTo>
                  <a:pt x="787754" y="122912"/>
                  <a:pt x="1658398" y="-34464"/>
                  <a:pt x="2371666" y="6237"/>
                </a:cubicBezTo>
                <a:cubicBezTo>
                  <a:pt x="2803089" y="529952"/>
                  <a:pt x="2884490" y="1734718"/>
                  <a:pt x="2884490" y="2904210"/>
                </a:cubicBezTo>
                <a:cubicBezTo>
                  <a:pt x="2366582" y="3097762"/>
                  <a:pt x="1845961" y="3294029"/>
                  <a:pt x="777242" y="3330207"/>
                </a:cubicBezTo>
                <a:cubicBezTo>
                  <a:pt x="20218" y="1527599"/>
                  <a:pt x="-47616" y="940573"/>
                  <a:pt x="20218" y="510921"/>
                </a:cubicBezTo>
                <a:close/>
              </a:path>
            </a:pathLst>
          </a:custGeom>
        </p:spPr>
        <p:txBody>
          <a:bodyPr anchor="ctr" anchorCtr="0"/>
          <a:lstStyle>
            <a:lvl1pPr algn="ctr">
              <a:lnSpc>
                <a:spcPts val="2067"/>
              </a:lnSpc>
              <a:spcBef>
                <a:spcPts val="0"/>
              </a:spcBef>
              <a:defRPr sz="1533" baseline="0">
                <a:latin typeface="+mj-lt"/>
              </a:defRPr>
            </a:lvl1pPr>
          </a:lstStyle>
          <a:p>
            <a:r>
              <a:rPr lang="de-CH"/>
              <a:t>Klicken Sie auf das Bild-Symbol in der Mitte um ein Bild hier zu platzier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5B907AE-511B-4F88-A82E-69DDFCDDF87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81551" y="1824563"/>
            <a:ext cx="6794500" cy="4417488"/>
          </a:xfrm>
        </p:spPr>
        <p:txBody>
          <a:bodyPr/>
          <a:lstStyle>
            <a:lvl5pPr>
              <a:defRPr/>
            </a:lvl5pPr>
            <a:lvl8pPr>
              <a:defRPr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4F1436F-238E-4485-BE86-198820D03222}"/>
              </a:ext>
            </a:extLst>
          </p:cNvPr>
          <p:cNvSpPr txBox="1"/>
          <p:nvPr userDrawn="1"/>
        </p:nvSpPr>
        <p:spPr>
          <a:xfrm>
            <a:off x="-3840000" y="4171201"/>
            <a:ext cx="3360000" cy="1714490"/>
          </a:xfrm>
          <a:prstGeom prst="rect">
            <a:avLst/>
          </a:prstGeom>
          <a:solidFill>
            <a:schemeClr val="accent2"/>
          </a:solidFill>
        </p:spPr>
        <p:txBody>
          <a:bodyPr wrap="square" lIns="144000" tIns="72000" rIns="144000" bIns="72000" rtlCol="0">
            <a:spAutoFit/>
          </a:bodyPr>
          <a:lstStyle/>
          <a:p>
            <a:r>
              <a:rPr lang="de-DE" sz="1133" b="0" kern="600">
                <a:solidFill>
                  <a:schemeClr val="bg1"/>
                </a:solidFill>
                <a:latin typeface="+mj-lt"/>
              </a:rPr>
              <a:t>Enthaltene Textebenen:</a:t>
            </a:r>
          </a:p>
          <a:p>
            <a:r>
              <a:rPr lang="de-DE" sz="1133" b="0" kern="600">
                <a:solidFill>
                  <a:schemeClr val="bg1"/>
                </a:solidFill>
                <a:latin typeface="+mn-lt"/>
              </a:rPr>
              <a:t>Ebene</a:t>
            </a: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 1 = Normaler Tex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2 = Auflist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3 = Auflist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4 = Nummerier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5 = Nummerier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6 = Untertitel mit Abstand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7 = Kleiner Text, fett (Legenden-Titel)</a:t>
            </a:r>
            <a:endParaRPr lang="de-CH" sz="1133" b="0" kern="600">
              <a:solidFill>
                <a:schemeClr val="bg1"/>
              </a:solidFill>
              <a:latin typeface="+mn-lt"/>
            </a:endParaRP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8 = Kleiner Text (Legenden)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90353422-C43D-45C6-9416-1431DEE1F232}"/>
              </a:ext>
            </a:extLst>
          </p:cNvPr>
          <p:cNvGrpSpPr/>
          <p:nvPr userDrawn="1"/>
        </p:nvGrpSpPr>
        <p:grpSpPr>
          <a:xfrm flipH="1">
            <a:off x="-3840000" y="313267"/>
            <a:ext cx="3360000" cy="3770250"/>
            <a:chOff x="-2880000" y="1428750"/>
            <a:chExt cx="2520000" cy="2827687"/>
          </a:xfrm>
        </p:grpSpPr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D5B29FCF-CE03-4B3A-818E-AADEFE4DFFF4}"/>
                </a:ext>
              </a:extLst>
            </p:cNvPr>
            <p:cNvSpPr txBox="1"/>
            <p:nvPr userDrawn="1"/>
          </p:nvSpPr>
          <p:spPr>
            <a:xfrm flipH="1">
              <a:off x="-2880000" y="1428750"/>
              <a:ext cx="2520000" cy="2827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108000" tIns="54000" rIns="108000" bIns="54000" rtlCol="0">
              <a:spAutoFit/>
            </a:bodyPr>
            <a:lstStyle/>
            <a:p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Bilder einfügen:</a:t>
              </a:r>
            </a:p>
            <a:p>
              <a:pPr marL="153596" indent="-153596">
                <a:buAutoNum type="arabicPeriod"/>
              </a:pPr>
              <a:r>
                <a:rPr lang="de-DE" sz="1133" b="0" kern="600" baseline="0">
                  <a:solidFill>
                    <a:schemeClr val="bg1"/>
                  </a:solidFill>
                </a:rPr>
                <a:t>Löschen Sie das ggf. bereits vorhandene Bild</a:t>
              </a:r>
            </a:p>
            <a:p>
              <a:pPr marL="153596" indent="-153596">
                <a:buAutoNum type="arabicPeriod"/>
              </a:pPr>
              <a:r>
                <a:rPr lang="de-DE" sz="1133" b="0" kern="600" baseline="0">
                  <a:solidFill>
                    <a:schemeClr val="bg1"/>
                  </a:solidFill>
                </a:rPr>
                <a:t>Klicken Sie auf das Bild-Symbol in der Mitte </a:t>
              </a:r>
              <a:br>
                <a:rPr lang="de-DE" sz="1133" b="0" kern="600" baseline="0">
                  <a:solidFill>
                    <a:schemeClr val="bg1"/>
                  </a:solidFill>
                </a:rPr>
              </a:br>
              <a:r>
                <a:rPr lang="de-DE" sz="1133" b="0" kern="600" baseline="0">
                  <a:solidFill>
                    <a:schemeClr val="bg1"/>
                  </a:solidFill>
                </a:rPr>
                <a:t>des Platzhalters</a:t>
              </a: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r>
                <a:rPr lang="de-DE" sz="1133" b="0" kern="600" baseline="0">
                  <a:solidFill>
                    <a:schemeClr val="bg1"/>
                  </a:solidFill>
                </a:rPr>
                <a:t>Nachdem Sie Ihr Bild platziert haben, können Sie es über »Bildtools -&gt; Zuschneiden« innerhalb der hier definierten »</a:t>
              </a:r>
              <a:r>
                <a:rPr lang="de-DE" sz="1133" b="0" kern="600" baseline="0" err="1">
                  <a:solidFill>
                    <a:schemeClr val="bg1"/>
                  </a:solidFill>
                </a:rPr>
                <a:t>Bildbox</a:t>
              </a:r>
              <a:r>
                <a:rPr lang="de-DE" sz="1133" b="0" kern="600" baseline="0">
                  <a:solidFill>
                    <a:schemeClr val="bg1"/>
                  </a:solidFill>
                </a:rPr>
                <a:t>« verschieben und/oder beschneiden. Die enthaltenen Hilfslinien helfen bei der richtigen Positionierung.</a:t>
              </a:r>
              <a:r>
                <a:rPr lang="de-CH" sz="1133" b="0" kern="600" baseline="0">
                  <a:solidFill>
                    <a:schemeClr val="bg1"/>
                  </a:solidFill>
                </a:rPr>
                <a:t> Durch Klicken auf »Einpassen« wird das Bild passend skaliert.</a:t>
              </a: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</p:txBody>
        </p:sp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AF6527C9-3662-4058-A994-1FF8CEA9A98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p:blipFill>
          <p:spPr>
            <a:xfrm flipH="1">
              <a:off x="-1589225" y="3001763"/>
              <a:ext cx="1088246" cy="114392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479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225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1 picture and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>
            <a:extLst>
              <a:ext uri="{FF2B5EF4-FFF2-40B4-BE49-F238E27FC236}">
                <a16:creationId xmlns:a16="http://schemas.microsoft.com/office/drawing/2014/main" id="{43EC237B-E88E-4FE5-BD57-9961FCFFFBF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1F3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ACA4B8EC-461A-4C07-A51F-7E60E14F5EA0}"/>
              </a:ext>
            </a:extLst>
          </p:cNvPr>
          <p:cNvSpPr/>
          <p:nvPr userDrawn="1"/>
        </p:nvSpPr>
        <p:spPr>
          <a:xfrm>
            <a:off x="0" y="313267"/>
            <a:ext cx="12192000" cy="8974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E4332158-D822-4D14-BD2A-5F6CE8BB2412}"/>
              </a:ext>
            </a:extLst>
          </p:cNvPr>
          <p:cNvSpPr/>
          <p:nvPr userDrawn="1"/>
        </p:nvSpPr>
        <p:spPr>
          <a:xfrm>
            <a:off x="0" y="313267"/>
            <a:ext cx="124800" cy="8974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50B1973B-7250-4E54-8EB2-F94573222A74}"/>
              </a:ext>
            </a:extLst>
          </p:cNvPr>
          <p:cNvGrpSpPr/>
          <p:nvPr userDrawn="1"/>
        </p:nvGrpSpPr>
        <p:grpSpPr>
          <a:xfrm>
            <a:off x="10136049" y="559791"/>
            <a:ext cx="1440000" cy="404419"/>
            <a:chOff x="-5709525" y="-5645283"/>
            <a:chExt cx="19213689" cy="5396089"/>
          </a:xfrm>
        </p:grpSpPr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B1542C2E-7059-4E3F-9965-C105A4F349C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5709525" y="-5645283"/>
              <a:ext cx="19213689" cy="5396089"/>
            </a:xfrm>
            <a:prstGeom prst="rect">
              <a:avLst/>
            </a:prstGeom>
          </p:spPr>
        </p:pic>
        <p:sp>
          <p:nvSpPr>
            <p:cNvPr id="32" name="Freeform 26">
              <a:extLst>
                <a:ext uri="{FF2B5EF4-FFF2-40B4-BE49-F238E27FC236}">
                  <a16:creationId xmlns:a16="http://schemas.microsoft.com/office/drawing/2014/main" id="{A3711BF2-A19C-4508-A7B9-EB1A1A330D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709525" y="-5645283"/>
              <a:ext cx="1287463" cy="1493837"/>
            </a:xfrm>
            <a:custGeom>
              <a:avLst/>
              <a:gdLst>
                <a:gd name="T0" fmla="*/ 86 w 114"/>
                <a:gd name="T1" fmla="*/ 0 h 132"/>
                <a:gd name="T2" fmla="*/ 1 w 114"/>
                <a:gd name="T3" fmla="*/ 20 h 132"/>
                <a:gd name="T4" fmla="*/ 0 w 114"/>
                <a:gd name="T5" fmla="*/ 31 h 132"/>
                <a:gd name="T6" fmla="*/ 31 w 114"/>
                <a:gd name="T7" fmla="*/ 132 h 132"/>
                <a:gd name="T8" fmla="*/ 114 w 114"/>
                <a:gd name="T9" fmla="*/ 115 h 132"/>
                <a:gd name="T10" fmla="*/ 114 w 114"/>
                <a:gd name="T11" fmla="*/ 106 h 132"/>
                <a:gd name="T12" fmla="*/ 94 w 114"/>
                <a:gd name="T13" fmla="*/ 0 h 132"/>
                <a:gd name="T14" fmla="*/ 86 w 114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32">
                  <a:moveTo>
                    <a:pt x="86" y="0"/>
                  </a:moveTo>
                  <a:cubicBezTo>
                    <a:pt x="52" y="0"/>
                    <a:pt x="25" y="8"/>
                    <a:pt x="1" y="20"/>
                  </a:cubicBezTo>
                  <a:cubicBezTo>
                    <a:pt x="1" y="23"/>
                    <a:pt x="0" y="25"/>
                    <a:pt x="0" y="31"/>
                  </a:cubicBezTo>
                  <a:cubicBezTo>
                    <a:pt x="0" y="56"/>
                    <a:pt x="18" y="102"/>
                    <a:pt x="31" y="132"/>
                  </a:cubicBezTo>
                  <a:cubicBezTo>
                    <a:pt x="56" y="132"/>
                    <a:pt x="92" y="125"/>
                    <a:pt x="114" y="115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81"/>
                    <a:pt x="113" y="24"/>
                    <a:pt x="94" y="0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sz="240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eingeben</a:t>
            </a:r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8486A62-8E09-4568-936F-59199FC6D1B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613835" y="6417600"/>
            <a:ext cx="9523765" cy="240000"/>
          </a:xfrm>
        </p:spPr>
        <p:txBody>
          <a:bodyPr/>
          <a:lstStyle>
            <a:lvl1pPr algn="l">
              <a:defRPr/>
            </a:lvl1pPr>
          </a:lstStyle>
          <a:p>
            <a:pPr algn="l"/>
            <a:endParaRPr lang="de-CH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2404CB0-61AA-4EEA-80F8-CFF91A4646C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B84BE2A-AF72-474C-A580-796179F45542}" type="slidenum">
              <a:rPr lang="de-CH" smtClean="0"/>
              <a:pPr/>
              <a:t>‹Nr.›</a:t>
            </a:fld>
            <a:endParaRPr lang="de-CH" kern="60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CCD68D62-2F79-4667-9D7D-08EC58AC9EE0}"/>
              </a:ext>
            </a:extLst>
          </p:cNvPr>
          <p:cNvSpPr txBox="1"/>
          <p:nvPr userDrawn="1"/>
        </p:nvSpPr>
        <p:spPr>
          <a:xfrm>
            <a:off x="-3840000" y="4171201"/>
            <a:ext cx="3360000" cy="1714490"/>
          </a:xfrm>
          <a:prstGeom prst="rect">
            <a:avLst/>
          </a:prstGeom>
          <a:solidFill>
            <a:schemeClr val="accent2"/>
          </a:solidFill>
        </p:spPr>
        <p:txBody>
          <a:bodyPr wrap="square" lIns="144000" tIns="72000" rIns="144000" bIns="72000" rtlCol="0">
            <a:spAutoFit/>
          </a:bodyPr>
          <a:lstStyle/>
          <a:p>
            <a:r>
              <a:rPr lang="de-DE" sz="1133" b="0" kern="600">
                <a:solidFill>
                  <a:schemeClr val="bg1"/>
                </a:solidFill>
                <a:latin typeface="+mj-lt"/>
              </a:rPr>
              <a:t>Enthaltene Textebenen:</a:t>
            </a:r>
          </a:p>
          <a:p>
            <a:r>
              <a:rPr lang="de-DE" sz="1133" b="0" kern="600">
                <a:solidFill>
                  <a:schemeClr val="bg1"/>
                </a:solidFill>
                <a:latin typeface="+mn-lt"/>
              </a:rPr>
              <a:t>Ebene</a:t>
            </a: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 1 = Normaler Tex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2 = Auflist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3 = Auflist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4 = Nummerier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5 = Nummerier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6 = Untertitel mit Abstand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7 = Kleiner Text, fett (Legenden-Titel)</a:t>
            </a:r>
            <a:endParaRPr lang="de-CH" sz="1133" b="0" kern="600">
              <a:solidFill>
                <a:schemeClr val="bg1"/>
              </a:solidFill>
              <a:latin typeface="+mn-lt"/>
            </a:endParaRP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8 = Kleiner Text (Legenden)</a:t>
            </a:r>
          </a:p>
        </p:txBody>
      </p:sp>
      <p:sp>
        <p:nvSpPr>
          <p:cNvPr id="23" name="Bildplatzhalter 6">
            <a:extLst>
              <a:ext uri="{FF2B5EF4-FFF2-40B4-BE49-F238E27FC236}">
                <a16:creationId xmlns:a16="http://schemas.microsoft.com/office/drawing/2014/main" id="{F2D128BF-FCAC-416E-B799-ECDFF370978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248397" y="1824563"/>
            <a:ext cx="5327655" cy="4417488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ts val="2067"/>
              </a:lnSpc>
              <a:spcBef>
                <a:spcPts val="0"/>
              </a:spcBef>
              <a:defRPr sz="1533" baseline="0">
                <a:latin typeface="+mj-lt"/>
              </a:defRPr>
            </a:lvl1pPr>
          </a:lstStyle>
          <a:p>
            <a:r>
              <a:rPr lang="de-CH"/>
              <a:t>Klicken Sie auf das Bild-Symbol in der Mitte um ein Bild hier zu platzieren</a:t>
            </a:r>
          </a:p>
        </p:txBody>
      </p:sp>
      <p:sp>
        <p:nvSpPr>
          <p:cNvPr id="24" name="Textplatzhalter 10">
            <a:extLst>
              <a:ext uri="{FF2B5EF4-FFF2-40B4-BE49-F238E27FC236}">
                <a16:creationId xmlns:a16="http://schemas.microsoft.com/office/drawing/2014/main" id="{31324497-E7BC-4D2B-8081-EE46EACC4B6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13835" y="1824563"/>
            <a:ext cx="5327655" cy="4417488"/>
          </a:xfrm>
        </p:spPr>
        <p:txBody>
          <a:bodyPr/>
          <a:lstStyle>
            <a:lvl5pPr>
              <a:defRPr/>
            </a:lvl5pPr>
            <a:lvl8pPr>
              <a:defRPr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A8235AFC-60A4-42CE-AE8E-C71A806BF5AF}"/>
              </a:ext>
            </a:extLst>
          </p:cNvPr>
          <p:cNvGrpSpPr/>
          <p:nvPr userDrawn="1"/>
        </p:nvGrpSpPr>
        <p:grpSpPr>
          <a:xfrm flipH="1">
            <a:off x="-3840000" y="313267"/>
            <a:ext cx="3360000" cy="3770250"/>
            <a:chOff x="-2880000" y="1428750"/>
            <a:chExt cx="2520000" cy="2827687"/>
          </a:xfrm>
        </p:grpSpPr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E91EF629-F7BD-4E04-A32A-5DBDF0FC537A}"/>
                </a:ext>
              </a:extLst>
            </p:cNvPr>
            <p:cNvSpPr txBox="1"/>
            <p:nvPr userDrawn="1"/>
          </p:nvSpPr>
          <p:spPr>
            <a:xfrm flipH="1">
              <a:off x="-2880000" y="1428750"/>
              <a:ext cx="2520000" cy="2827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108000" tIns="54000" rIns="108000" bIns="54000" rtlCol="0">
              <a:spAutoFit/>
            </a:bodyPr>
            <a:lstStyle/>
            <a:p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Bilder einfügen:</a:t>
              </a:r>
            </a:p>
            <a:p>
              <a:pPr marL="153596" indent="-153596">
                <a:buAutoNum type="arabicPeriod"/>
              </a:pPr>
              <a:r>
                <a:rPr lang="de-DE" sz="1133" b="0" kern="600" baseline="0">
                  <a:solidFill>
                    <a:schemeClr val="bg1"/>
                  </a:solidFill>
                </a:rPr>
                <a:t>Löschen Sie das ggf. bereits vorhandene Bild</a:t>
              </a:r>
            </a:p>
            <a:p>
              <a:pPr marL="153596" indent="-153596">
                <a:buAutoNum type="arabicPeriod"/>
              </a:pPr>
              <a:r>
                <a:rPr lang="de-DE" sz="1133" b="0" kern="600" baseline="0">
                  <a:solidFill>
                    <a:schemeClr val="bg1"/>
                  </a:solidFill>
                </a:rPr>
                <a:t>Klicken Sie auf das Bild-Symbol in der Mitte </a:t>
              </a:r>
              <a:br>
                <a:rPr lang="de-DE" sz="1133" b="0" kern="600" baseline="0">
                  <a:solidFill>
                    <a:schemeClr val="bg1"/>
                  </a:solidFill>
                </a:rPr>
              </a:br>
              <a:r>
                <a:rPr lang="de-DE" sz="1133" b="0" kern="600" baseline="0">
                  <a:solidFill>
                    <a:schemeClr val="bg1"/>
                  </a:solidFill>
                </a:rPr>
                <a:t>des Platzhalters</a:t>
              </a: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r>
                <a:rPr lang="de-DE" sz="1133" b="0" kern="600" baseline="0">
                  <a:solidFill>
                    <a:schemeClr val="bg1"/>
                  </a:solidFill>
                </a:rPr>
                <a:t>Nachdem Sie Ihr Bild platziert haben, können Sie es über »Bildtools -&gt; Zuschneiden« innerhalb der hier definierten »</a:t>
              </a:r>
              <a:r>
                <a:rPr lang="de-DE" sz="1133" b="0" kern="600" baseline="0" err="1">
                  <a:solidFill>
                    <a:schemeClr val="bg1"/>
                  </a:solidFill>
                </a:rPr>
                <a:t>Bildbox</a:t>
              </a:r>
              <a:r>
                <a:rPr lang="de-DE" sz="1133" b="0" kern="600" baseline="0">
                  <a:solidFill>
                    <a:schemeClr val="bg1"/>
                  </a:solidFill>
                </a:rPr>
                <a:t>« verschieben und/oder beschneiden. Die enthaltenen Hilfslinien helfen bei der richtigen Positionierung.</a:t>
              </a:r>
              <a:r>
                <a:rPr lang="de-CH" sz="1133" b="0" kern="600" baseline="0">
                  <a:solidFill>
                    <a:schemeClr val="bg1"/>
                  </a:solidFill>
                </a:rPr>
                <a:t> Durch Klicken auf »Einpassen« wird das Bild passend skaliert.</a:t>
              </a: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E93EA492-994F-4A49-996E-D851640C5B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p:blipFill>
          <p:spPr>
            <a:xfrm flipH="1">
              <a:off x="-1589225" y="3001763"/>
              <a:ext cx="1088246" cy="114392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760125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85">
          <p15:clr>
            <a:srgbClr val="FBAE40"/>
          </p15:clr>
        </p15:guide>
        <p15:guide id="2" orient="horz" pos="1829">
          <p15:clr>
            <a:srgbClr val="FBAE40"/>
          </p15:clr>
        </p15:guide>
        <p15:guide id="3" pos="2807">
          <p15:clr>
            <a:srgbClr val="FBAE40"/>
          </p15:clr>
        </p15:guide>
        <p15:guide id="4" pos="2952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1 shape and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>
            <a:extLst>
              <a:ext uri="{FF2B5EF4-FFF2-40B4-BE49-F238E27FC236}">
                <a16:creationId xmlns:a16="http://schemas.microsoft.com/office/drawing/2014/main" id="{88D3D1E1-17A4-47DC-9528-97498B70D95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1F3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34B7E63D-A795-4C5F-816D-9092579F53C0}"/>
              </a:ext>
            </a:extLst>
          </p:cNvPr>
          <p:cNvSpPr/>
          <p:nvPr userDrawn="1"/>
        </p:nvSpPr>
        <p:spPr>
          <a:xfrm>
            <a:off x="0" y="313267"/>
            <a:ext cx="12192000" cy="8974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1EDD600C-1942-4012-BB0E-5AF8E9A87AB5}"/>
              </a:ext>
            </a:extLst>
          </p:cNvPr>
          <p:cNvSpPr/>
          <p:nvPr userDrawn="1"/>
        </p:nvSpPr>
        <p:spPr>
          <a:xfrm>
            <a:off x="0" y="313267"/>
            <a:ext cx="124800" cy="8974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CEF133EA-A09F-4144-B542-D1A3A7EC592A}"/>
              </a:ext>
            </a:extLst>
          </p:cNvPr>
          <p:cNvGrpSpPr/>
          <p:nvPr userDrawn="1"/>
        </p:nvGrpSpPr>
        <p:grpSpPr>
          <a:xfrm>
            <a:off x="10136049" y="559791"/>
            <a:ext cx="1440000" cy="404419"/>
            <a:chOff x="-5709525" y="-5645283"/>
            <a:chExt cx="19213689" cy="5396089"/>
          </a:xfrm>
        </p:grpSpPr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89C49703-2429-465D-A755-0BFEE48B834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5709525" y="-5645283"/>
              <a:ext cx="19213689" cy="5396089"/>
            </a:xfrm>
            <a:prstGeom prst="rect">
              <a:avLst/>
            </a:prstGeom>
          </p:spPr>
        </p:pic>
        <p:sp>
          <p:nvSpPr>
            <p:cNvPr id="32" name="Freeform 26">
              <a:extLst>
                <a:ext uri="{FF2B5EF4-FFF2-40B4-BE49-F238E27FC236}">
                  <a16:creationId xmlns:a16="http://schemas.microsoft.com/office/drawing/2014/main" id="{8C1A89DC-EAB4-4531-857B-1B88143783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709525" y="-5645283"/>
              <a:ext cx="1287463" cy="1493837"/>
            </a:xfrm>
            <a:custGeom>
              <a:avLst/>
              <a:gdLst>
                <a:gd name="T0" fmla="*/ 86 w 114"/>
                <a:gd name="T1" fmla="*/ 0 h 132"/>
                <a:gd name="T2" fmla="*/ 1 w 114"/>
                <a:gd name="T3" fmla="*/ 20 h 132"/>
                <a:gd name="T4" fmla="*/ 0 w 114"/>
                <a:gd name="T5" fmla="*/ 31 h 132"/>
                <a:gd name="T6" fmla="*/ 31 w 114"/>
                <a:gd name="T7" fmla="*/ 132 h 132"/>
                <a:gd name="T8" fmla="*/ 114 w 114"/>
                <a:gd name="T9" fmla="*/ 115 h 132"/>
                <a:gd name="T10" fmla="*/ 114 w 114"/>
                <a:gd name="T11" fmla="*/ 106 h 132"/>
                <a:gd name="T12" fmla="*/ 94 w 114"/>
                <a:gd name="T13" fmla="*/ 0 h 132"/>
                <a:gd name="T14" fmla="*/ 86 w 114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32">
                  <a:moveTo>
                    <a:pt x="86" y="0"/>
                  </a:moveTo>
                  <a:cubicBezTo>
                    <a:pt x="52" y="0"/>
                    <a:pt x="25" y="8"/>
                    <a:pt x="1" y="20"/>
                  </a:cubicBezTo>
                  <a:cubicBezTo>
                    <a:pt x="1" y="23"/>
                    <a:pt x="0" y="25"/>
                    <a:pt x="0" y="31"/>
                  </a:cubicBezTo>
                  <a:cubicBezTo>
                    <a:pt x="0" y="56"/>
                    <a:pt x="18" y="102"/>
                    <a:pt x="31" y="132"/>
                  </a:cubicBezTo>
                  <a:cubicBezTo>
                    <a:pt x="56" y="132"/>
                    <a:pt x="92" y="125"/>
                    <a:pt x="114" y="115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81"/>
                    <a:pt x="113" y="24"/>
                    <a:pt x="94" y="0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sz="240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eingeben</a:t>
            </a:r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E3894A0-E343-4559-A922-B591527E420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613829" y="6417600"/>
            <a:ext cx="9523771" cy="240000"/>
          </a:xfrm>
        </p:spPr>
        <p:txBody>
          <a:bodyPr/>
          <a:lstStyle>
            <a:lvl1pPr algn="l">
              <a:defRPr/>
            </a:lvl1pPr>
          </a:lstStyle>
          <a:p>
            <a:pPr algn="l"/>
            <a:endParaRPr lang="de-CH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C9A4044-7C30-4E00-9972-A0866BF788B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B84BE2A-AF72-474C-A580-796179F45542}" type="slidenum">
              <a:rPr lang="de-CH" smtClean="0"/>
              <a:pPr/>
              <a:t>‹Nr.›</a:t>
            </a:fld>
            <a:endParaRPr lang="de-CH" kern="600"/>
          </a:p>
        </p:txBody>
      </p:sp>
      <p:sp>
        <p:nvSpPr>
          <p:cNvPr id="15" name="Bildplatzhalter 6">
            <a:extLst>
              <a:ext uri="{FF2B5EF4-FFF2-40B4-BE49-F238E27FC236}">
                <a16:creationId xmlns:a16="http://schemas.microsoft.com/office/drawing/2014/main" id="{06BF718F-FC5B-4EDB-A31B-2EA0B91ED11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7730063" y="1816246"/>
            <a:ext cx="3845987" cy="4440276"/>
          </a:xfrm>
          <a:custGeom>
            <a:avLst/>
            <a:gdLst>
              <a:gd name="connsiteX0" fmla="*/ 0 w 3995741"/>
              <a:gd name="connsiteY0" fmla="*/ 0 h 3313116"/>
              <a:gd name="connsiteX1" fmla="*/ 3995741 w 3995741"/>
              <a:gd name="connsiteY1" fmla="*/ 0 h 3313116"/>
              <a:gd name="connsiteX2" fmla="*/ 3995741 w 3995741"/>
              <a:gd name="connsiteY2" fmla="*/ 3313116 h 3313116"/>
              <a:gd name="connsiteX3" fmla="*/ 0 w 3995741"/>
              <a:gd name="connsiteY3" fmla="*/ 3313116 h 3313116"/>
              <a:gd name="connsiteX4" fmla="*/ 0 w 3995741"/>
              <a:gd name="connsiteY4" fmla="*/ 0 h 3313116"/>
              <a:gd name="connsiteX0" fmla="*/ 24421 w 3995741"/>
              <a:gd name="connsiteY0" fmla="*/ 504684 h 3313116"/>
              <a:gd name="connsiteX1" fmla="*/ 3995741 w 3995741"/>
              <a:gd name="connsiteY1" fmla="*/ 0 h 3313116"/>
              <a:gd name="connsiteX2" fmla="*/ 3995741 w 3995741"/>
              <a:gd name="connsiteY2" fmla="*/ 3313116 h 3313116"/>
              <a:gd name="connsiteX3" fmla="*/ 0 w 3995741"/>
              <a:gd name="connsiteY3" fmla="*/ 3313116 h 3313116"/>
              <a:gd name="connsiteX4" fmla="*/ 24421 w 3995741"/>
              <a:gd name="connsiteY4" fmla="*/ 504684 h 3313116"/>
              <a:gd name="connsiteX0" fmla="*/ 24421 w 3995741"/>
              <a:gd name="connsiteY0" fmla="*/ 504684 h 3313116"/>
              <a:gd name="connsiteX1" fmla="*/ 2375869 w 3995741"/>
              <a:gd name="connsiteY1" fmla="*/ 0 h 3313116"/>
              <a:gd name="connsiteX2" fmla="*/ 3995741 w 3995741"/>
              <a:gd name="connsiteY2" fmla="*/ 3313116 h 3313116"/>
              <a:gd name="connsiteX3" fmla="*/ 0 w 3995741"/>
              <a:gd name="connsiteY3" fmla="*/ 3313116 h 3313116"/>
              <a:gd name="connsiteX4" fmla="*/ 24421 w 3995741"/>
              <a:gd name="connsiteY4" fmla="*/ 504684 h 3313116"/>
              <a:gd name="connsiteX0" fmla="*/ 24421 w 2888693"/>
              <a:gd name="connsiteY0" fmla="*/ 504684 h 3313116"/>
              <a:gd name="connsiteX1" fmla="*/ 2375869 w 2888693"/>
              <a:gd name="connsiteY1" fmla="*/ 0 h 3313116"/>
              <a:gd name="connsiteX2" fmla="*/ 2888693 w 2888693"/>
              <a:gd name="connsiteY2" fmla="*/ 2897973 h 3313116"/>
              <a:gd name="connsiteX3" fmla="*/ 0 w 2888693"/>
              <a:gd name="connsiteY3" fmla="*/ 3313116 h 3313116"/>
              <a:gd name="connsiteX4" fmla="*/ 24421 w 2888693"/>
              <a:gd name="connsiteY4" fmla="*/ 504684 h 3313116"/>
              <a:gd name="connsiteX0" fmla="*/ 0 w 2864272"/>
              <a:gd name="connsiteY0" fmla="*/ 504684 h 3323970"/>
              <a:gd name="connsiteX1" fmla="*/ 2351448 w 2864272"/>
              <a:gd name="connsiteY1" fmla="*/ 0 h 3323970"/>
              <a:gd name="connsiteX2" fmla="*/ 2864272 w 2864272"/>
              <a:gd name="connsiteY2" fmla="*/ 2897973 h 3323970"/>
              <a:gd name="connsiteX3" fmla="*/ 757024 w 2864272"/>
              <a:gd name="connsiteY3" fmla="*/ 3323970 h 3323970"/>
              <a:gd name="connsiteX4" fmla="*/ 0 w 2864272"/>
              <a:gd name="connsiteY4" fmla="*/ 504684 h 3323970"/>
              <a:gd name="connsiteX0" fmla="*/ 0 w 2864272"/>
              <a:gd name="connsiteY0" fmla="*/ 504684 h 3323970"/>
              <a:gd name="connsiteX1" fmla="*/ 2351448 w 2864272"/>
              <a:gd name="connsiteY1" fmla="*/ 0 h 3323970"/>
              <a:gd name="connsiteX2" fmla="*/ 2864272 w 2864272"/>
              <a:gd name="connsiteY2" fmla="*/ 2897973 h 3323970"/>
              <a:gd name="connsiteX3" fmla="*/ 757024 w 2864272"/>
              <a:gd name="connsiteY3" fmla="*/ 3323970 h 3323970"/>
              <a:gd name="connsiteX4" fmla="*/ 0 w 2864272"/>
              <a:gd name="connsiteY4" fmla="*/ 504684 h 3323970"/>
              <a:gd name="connsiteX0" fmla="*/ 0 w 2864272"/>
              <a:gd name="connsiteY0" fmla="*/ 504684 h 3323970"/>
              <a:gd name="connsiteX1" fmla="*/ 2351448 w 2864272"/>
              <a:gd name="connsiteY1" fmla="*/ 0 h 3323970"/>
              <a:gd name="connsiteX2" fmla="*/ 2864272 w 2864272"/>
              <a:gd name="connsiteY2" fmla="*/ 2897973 h 3323970"/>
              <a:gd name="connsiteX3" fmla="*/ 757024 w 2864272"/>
              <a:gd name="connsiteY3" fmla="*/ 3323970 h 3323970"/>
              <a:gd name="connsiteX4" fmla="*/ 0 w 2864272"/>
              <a:gd name="connsiteY4" fmla="*/ 504684 h 3323970"/>
              <a:gd name="connsiteX0" fmla="*/ 0 w 2864272"/>
              <a:gd name="connsiteY0" fmla="*/ 504684 h 3323970"/>
              <a:gd name="connsiteX1" fmla="*/ 2351448 w 2864272"/>
              <a:gd name="connsiteY1" fmla="*/ 0 h 3323970"/>
              <a:gd name="connsiteX2" fmla="*/ 2864272 w 2864272"/>
              <a:gd name="connsiteY2" fmla="*/ 2897973 h 3323970"/>
              <a:gd name="connsiteX3" fmla="*/ 757024 w 2864272"/>
              <a:gd name="connsiteY3" fmla="*/ 3323970 h 3323970"/>
              <a:gd name="connsiteX4" fmla="*/ 0 w 2864272"/>
              <a:gd name="connsiteY4" fmla="*/ 504684 h 3323970"/>
              <a:gd name="connsiteX0" fmla="*/ 0 w 2864272"/>
              <a:gd name="connsiteY0" fmla="*/ 504684 h 3323970"/>
              <a:gd name="connsiteX1" fmla="*/ 2351448 w 2864272"/>
              <a:gd name="connsiteY1" fmla="*/ 0 h 3323970"/>
              <a:gd name="connsiteX2" fmla="*/ 2864272 w 2864272"/>
              <a:gd name="connsiteY2" fmla="*/ 2897973 h 3323970"/>
              <a:gd name="connsiteX3" fmla="*/ 757024 w 2864272"/>
              <a:gd name="connsiteY3" fmla="*/ 3323970 h 3323970"/>
              <a:gd name="connsiteX4" fmla="*/ 0 w 2864272"/>
              <a:gd name="connsiteY4" fmla="*/ 504684 h 3323970"/>
              <a:gd name="connsiteX0" fmla="*/ 0 w 2866924"/>
              <a:gd name="connsiteY0" fmla="*/ 504684 h 3323970"/>
              <a:gd name="connsiteX1" fmla="*/ 2351448 w 2866924"/>
              <a:gd name="connsiteY1" fmla="*/ 0 h 3323970"/>
              <a:gd name="connsiteX2" fmla="*/ 2864272 w 2866924"/>
              <a:gd name="connsiteY2" fmla="*/ 2897973 h 3323970"/>
              <a:gd name="connsiteX3" fmla="*/ 757024 w 2866924"/>
              <a:gd name="connsiteY3" fmla="*/ 3323970 h 3323970"/>
              <a:gd name="connsiteX4" fmla="*/ 0 w 2866924"/>
              <a:gd name="connsiteY4" fmla="*/ 504684 h 3323970"/>
              <a:gd name="connsiteX0" fmla="*/ 0 w 2870898"/>
              <a:gd name="connsiteY0" fmla="*/ 504684 h 3323970"/>
              <a:gd name="connsiteX1" fmla="*/ 2351448 w 2870898"/>
              <a:gd name="connsiteY1" fmla="*/ 0 h 3323970"/>
              <a:gd name="connsiteX2" fmla="*/ 2864272 w 2870898"/>
              <a:gd name="connsiteY2" fmla="*/ 2897973 h 3323970"/>
              <a:gd name="connsiteX3" fmla="*/ 757024 w 2870898"/>
              <a:gd name="connsiteY3" fmla="*/ 3323970 h 3323970"/>
              <a:gd name="connsiteX4" fmla="*/ 0 w 2870898"/>
              <a:gd name="connsiteY4" fmla="*/ 504684 h 3323970"/>
              <a:gd name="connsiteX0" fmla="*/ 0 w 2864272"/>
              <a:gd name="connsiteY0" fmla="*/ 504684 h 3323970"/>
              <a:gd name="connsiteX1" fmla="*/ 2351448 w 2864272"/>
              <a:gd name="connsiteY1" fmla="*/ 0 h 3323970"/>
              <a:gd name="connsiteX2" fmla="*/ 2864272 w 2864272"/>
              <a:gd name="connsiteY2" fmla="*/ 2897973 h 3323970"/>
              <a:gd name="connsiteX3" fmla="*/ 757024 w 2864272"/>
              <a:gd name="connsiteY3" fmla="*/ 3323970 h 3323970"/>
              <a:gd name="connsiteX4" fmla="*/ 0 w 2864272"/>
              <a:gd name="connsiteY4" fmla="*/ 504684 h 3323970"/>
              <a:gd name="connsiteX0" fmla="*/ 0 w 2864272"/>
              <a:gd name="connsiteY0" fmla="*/ 508928 h 3328214"/>
              <a:gd name="connsiteX1" fmla="*/ 2351448 w 2864272"/>
              <a:gd name="connsiteY1" fmla="*/ 4244 h 3328214"/>
              <a:gd name="connsiteX2" fmla="*/ 2864272 w 2864272"/>
              <a:gd name="connsiteY2" fmla="*/ 2902217 h 3328214"/>
              <a:gd name="connsiteX3" fmla="*/ 757024 w 2864272"/>
              <a:gd name="connsiteY3" fmla="*/ 3328214 h 3328214"/>
              <a:gd name="connsiteX4" fmla="*/ 0 w 2864272"/>
              <a:gd name="connsiteY4" fmla="*/ 508928 h 3328214"/>
              <a:gd name="connsiteX0" fmla="*/ 0 w 2864272"/>
              <a:gd name="connsiteY0" fmla="*/ 511596 h 3330882"/>
              <a:gd name="connsiteX1" fmla="*/ 2351448 w 2864272"/>
              <a:gd name="connsiteY1" fmla="*/ 6912 h 3330882"/>
              <a:gd name="connsiteX2" fmla="*/ 2864272 w 2864272"/>
              <a:gd name="connsiteY2" fmla="*/ 2904885 h 3330882"/>
              <a:gd name="connsiteX3" fmla="*/ 757024 w 2864272"/>
              <a:gd name="connsiteY3" fmla="*/ 3330882 h 3330882"/>
              <a:gd name="connsiteX4" fmla="*/ 0 w 2864272"/>
              <a:gd name="connsiteY4" fmla="*/ 511596 h 3330882"/>
              <a:gd name="connsiteX0" fmla="*/ 0 w 2864272"/>
              <a:gd name="connsiteY0" fmla="*/ 510972 h 3330258"/>
              <a:gd name="connsiteX1" fmla="*/ 2351448 w 2864272"/>
              <a:gd name="connsiteY1" fmla="*/ 6288 h 3330258"/>
              <a:gd name="connsiteX2" fmla="*/ 2864272 w 2864272"/>
              <a:gd name="connsiteY2" fmla="*/ 2904261 h 3330258"/>
              <a:gd name="connsiteX3" fmla="*/ 757024 w 2864272"/>
              <a:gd name="connsiteY3" fmla="*/ 3330258 h 3330258"/>
              <a:gd name="connsiteX4" fmla="*/ 0 w 2864272"/>
              <a:gd name="connsiteY4" fmla="*/ 510972 h 3330258"/>
              <a:gd name="connsiteX0" fmla="*/ 0 w 2864272"/>
              <a:gd name="connsiteY0" fmla="*/ 509782 h 3329068"/>
              <a:gd name="connsiteX1" fmla="*/ 2351448 w 2864272"/>
              <a:gd name="connsiteY1" fmla="*/ 5098 h 3329068"/>
              <a:gd name="connsiteX2" fmla="*/ 2864272 w 2864272"/>
              <a:gd name="connsiteY2" fmla="*/ 2903071 h 3329068"/>
              <a:gd name="connsiteX3" fmla="*/ 757024 w 2864272"/>
              <a:gd name="connsiteY3" fmla="*/ 3329068 h 3329068"/>
              <a:gd name="connsiteX4" fmla="*/ 0 w 2864272"/>
              <a:gd name="connsiteY4" fmla="*/ 509782 h 3329068"/>
              <a:gd name="connsiteX0" fmla="*/ 0 w 2864272"/>
              <a:gd name="connsiteY0" fmla="*/ 510921 h 3330207"/>
              <a:gd name="connsiteX1" fmla="*/ 2351448 w 2864272"/>
              <a:gd name="connsiteY1" fmla="*/ 6237 h 3330207"/>
              <a:gd name="connsiteX2" fmla="*/ 2864272 w 2864272"/>
              <a:gd name="connsiteY2" fmla="*/ 2904210 h 3330207"/>
              <a:gd name="connsiteX3" fmla="*/ 757024 w 2864272"/>
              <a:gd name="connsiteY3" fmla="*/ 3330207 h 3330207"/>
              <a:gd name="connsiteX4" fmla="*/ 0 w 2864272"/>
              <a:gd name="connsiteY4" fmla="*/ 510921 h 3330207"/>
              <a:gd name="connsiteX0" fmla="*/ 5541 w 2869813"/>
              <a:gd name="connsiteY0" fmla="*/ 510921 h 3330207"/>
              <a:gd name="connsiteX1" fmla="*/ 2356989 w 2869813"/>
              <a:gd name="connsiteY1" fmla="*/ 6237 h 3330207"/>
              <a:gd name="connsiteX2" fmla="*/ 2869813 w 2869813"/>
              <a:gd name="connsiteY2" fmla="*/ 2904210 h 3330207"/>
              <a:gd name="connsiteX3" fmla="*/ 762565 w 2869813"/>
              <a:gd name="connsiteY3" fmla="*/ 3330207 h 3330207"/>
              <a:gd name="connsiteX4" fmla="*/ 5541 w 2869813"/>
              <a:gd name="connsiteY4" fmla="*/ 510921 h 3330207"/>
              <a:gd name="connsiteX0" fmla="*/ 20218 w 2884490"/>
              <a:gd name="connsiteY0" fmla="*/ 510921 h 3330207"/>
              <a:gd name="connsiteX1" fmla="*/ 2371666 w 2884490"/>
              <a:gd name="connsiteY1" fmla="*/ 6237 h 3330207"/>
              <a:gd name="connsiteX2" fmla="*/ 2884490 w 2884490"/>
              <a:gd name="connsiteY2" fmla="*/ 2904210 h 3330207"/>
              <a:gd name="connsiteX3" fmla="*/ 777242 w 2884490"/>
              <a:gd name="connsiteY3" fmla="*/ 3330207 h 3330207"/>
              <a:gd name="connsiteX4" fmla="*/ 20218 w 2884490"/>
              <a:gd name="connsiteY4" fmla="*/ 510921 h 3330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4490" h="3330207">
                <a:moveTo>
                  <a:pt x="20218" y="510921"/>
                </a:moveTo>
                <a:cubicBezTo>
                  <a:pt x="787754" y="122912"/>
                  <a:pt x="1658398" y="-34464"/>
                  <a:pt x="2371666" y="6237"/>
                </a:cubicBezTo>
                <a:cubicBezTo>
                  <a:pt x="2803089" y="529952"/>
                  <a:pt x="2884490" y="1734718"/>
                  <a:pt x="2884490" y="2904210"/>
                </a:cubicBezTo>
                <a:cubicBezTo>
                  <a:pt x="2366582" y="3097762"/>
                  <a:pt x="1845961" y="3294029"/>
                  <a:pt x="777242" y="3330207"/>
                </a:cubicBezTo>
                <a:cubicBezTo>
                  <a:pt x="20218" y="1527599"/>
                  <a:pt x="-47616" y="940573"/>
                  <a:pt x="20218" y="510921"/>
                </a:cubicBezTo>
                <a:close/>
              </a:path>
            </a:pathLst>
          </a:custGeom>
        </p:spPr>
        <p:txBody>
          <a:bodyPr anchor="ctr" anchorCtr="0"/>
          <a:lstStyle>
            <a:lvl1pPr algn="ctr">
              <a:lnSpc>
                <a:spcPts val="2067"/>
              </a:lnSpc>
              <a:spcBef>
                <a:spcPts val="0"/>
              </a:spcBef>
              <a:defRPr sz="1533" baseline="0">
                <a:latin typeface="+mj-lt"/>
              </a:defRPr>
            </a:lvl1pPr>
          </a:lstStyle>
          <a:p>
            <a:r>
              <a:rPr lang="de-CH"/>
              <a:t>Klicken Sie auf das Bild-Symbol in der Mitte um ein Bild hier zu platzier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5B907AE-511B-4F88-A82E-69DDFCDDF87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13835" y="1824563"/>
            <a:ext cx="6796616" cy="4417488"/>
          </a:xfrm>
        </p:spPr>
        <p:txBody>
          <a:bodyPr/>
          <a:lstStyle>
            <a:lvl5pPr>
              <a:defRPr/>
            </a:lvl5pPr>
            <a:lvl8pPr>
              <a:defRPr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4F1436F-238E-4485-BE86-198820D03222}"/>
              </a:ext>
            </a:extLst>
          </p:cNvPr>
          <p:cNvSpPr txBox="1"/>
          <p:nvPr userDrawn="1"/>
        </p:nvSpPr>
        <p:spPr>
          <a:xfrm>
            <a:off x="-3840000" y="4171201"/>
            <a:ext cx="3360000" cy="1714490"/>
          </a:xfrm>
          <a:prstGeom prst="rect">
            <a:avLst/>
          </a:prstGeom>
          <a:solidFill>
            <a:schemeClr val="accent2"/>
          </a:solidFill>
        </p:spPr>
        <p:txBody>
          <a:bodyPr wrap="square" lIns="144000" tIns="72000" rIns="144000" bIns="72000" rtlCol="0">
            <a:spAutoFit/>
          </a:bodyPr>
          <a:lstStyle/>
          <a:p>
            <a:r>
              <a:rPr lang="de-DE" sz="1133" b="0" kern="600">
                <a:solidFill>
                  <a:schemeClr val="bg1"/>
                </a:solidFill>
                <a:latin typeface="+mj-lt"/>
              </a:rPr>
              <a:t>Enthaltene Textebenen:</a:t>
            </a:r>
          </a:p>
          <a:p>
            <a:r>
              <a:rPr lang="de-DE" sz="1133" b="0" kern="600">
                <a:solidFill>
                  <a:schemeClr val="bg1"/>
                </a:solidFill>
                <a:latin typeface="+mn-lt"/>
              </a:rPr>
              <a:t>Ebene</a:t>
            </a: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 1 = Normaler Tex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2 = Auflist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3 = Auflist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4 = Nummerier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5 = Nummerier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6 = Untertitel mit Abstand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7 = Kleiner Text, fett (Legenden-Titel)</a:t>
            </a:r>
            <a:endParaRPr lang="de-CH" sz="1133" b="0" kern="600">
              <a:solidFill>
                <a:schemeClr val="bg1"/>
              </a:solidFill>
              <a:latin typeface="+mn-lt"/>
            </a:endParaRP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8 = Kleiner Text (Legenden)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90353422-C43D-45C6-9416-1431DEE1F232}"/>
              </a:ext>
            </a:extLst>
          </p:cNvPr>
          <p:cNvGrpSpPr/>
          <p:nvPr userDrawn="1"/>
        </p:nvGrpSpPr>
        <p:grpSpPr>
          <a:xfrm flipH="1">
            <a:off x="-3840000" y="313267"/>
            <a:ext cx="3360000" cy="3770250"/>
            <a:chOff x="-2880000" y="1428750"/>
            <a:chExt cx="2520000" cy="2827687"/>
          </a:xfrm>
        </p:grpSpPr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D5B29FCF-CE03-4B3A-818E-AADEFE4DFFF4}"/>
                </a:ext>
              </a:extLst>
            </p:cNvPr>
            <p:cNvSpPr txBox="1"/>
            <p:nvPr userDrawn="1"/>
          </p:nvSpPr>
          <p:spPr>
            <a:xfrm flipH="1">
              <a:off x="-2880000" y="1428750"/>
              <a:ext cx="2520000" cy="2827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108000" tIns="54000" rIns="108000" bIns="54000" rtlCol="0">
              <a:spAutoFit/>
            </a:bodyPr>
            <a:lstStyle/>
            <a:p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Bilder einfügen:</a:t>
              </a:r>
            </a:p>
            <a:p>
              <a:pPr marL="153596" indent="-153596">
                <a:buAutoNum type="arabicPeriod"/>
              </a:pPr>
              <a:r>
                <a:rPr lang="de-DE" sz="1133" b="0" kern="600" baseline="0">
                  <a:solidFill>
                    <a:schemeClr val="bg1"/>
                  </a:solidFill>
                </a:rPr>
                <a:t>Löschen Sie das ggf. bereits vorhandene Bild</a:t>
              </a:r>
            </a:p>
            <a:p>
              <a:pPr marL="153596" indent="-153596">
                <a:buAutoNum type="arabicPeriod"/>
              </a:pPr>
              <a:r>
                <a:rPr lang="de-DE" sz="1133" b="0" kern="600" baseline="0">
                  <a:solidFill>
                    <a:schemeClr val="bg1"/>
                  </a:solidFill>
                </a:rPr>
                <a:t>Klicken Sie auf das Bild-Symbol in der Mitte </a:t>
              </a:r>
              <a:br>
                <a:rPr lang="de-DE" sz="1133" b="0" kern="600" baseline="0">
                  <a:solidFill>
                    <a:schemeClr val="bg1"/>
                  </a:solidFill>
                </a:rPr>
              </a:br>
              <a:r>
                <a:rPr lang="de-DE" sz="1133" b="0" kern="600" baseline="0">
                  <a:solidFill>
                    <a:schemeClr val="bg1"/>
                  </a:solidFill>
                </a:rPr>
                <a:t>des Platzhalters</a:t>
              </a: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r>
                <a:rPr lang="de-DE" sz="1133" b="0" kern="600" baseline="0">
                  <a:solidFill>
                    <a:schemeClr val="bg1"/>
                  </a:solidFill>
                </a:rPr>
                <a:t>Nachdem Sie Ihr Bild platziert haben, können Sie es über »Bildtools -&gt; Zuschneiden« innerhalb der hier definierten »</a:t>
              </a:r>
              <a:r>
                <a:rPr lang="de-DE" sz="1133" b="0" kern="600" baseline="0" err="1">
                  <a:solidFill>
                    <a:schemeClr val="bg1"/>
                  </a:solidFill>
                </a:rPr>
                <a:t>Bildbox</a:t>
              </a:r>
              <a:r>
                <a:rPr lang="de-DE" sz="1133" b="0" kern="600" baseline="0">
                  <a:solidFill>
                    <a:schemeClr val="bg1"/>
                  </a:solidFill>
                </a:rPr>
                <a:t>« verschieben und/oder beschneiden. Die enthaltenen Hilfslinien helfen bei der richtigen Positionierung.</a:t>
              </a:r>
              <a:r>
                <a:rPr lang="de-CH" sz="1133" b="0" kern="600" baseline="0">
                  <a:solidFill>
                    <a:schemeClr val="bg1"/>
                  </a:solidFill>
                </a:rPr>
                <a:t> Durch Klicken auf »Einpassen« wird das Bild passend skaliert.</a:t>
              </a: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</p:txBody>
        </p:sp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AF6527C9-3662-4058-A994-1FF8CEA9A98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p:blipFill>
          <p:spPr>
            <a:xfrm flipH="1">
              <a:off x="-1589225" y="3001763"/>
              <a:ext cx="1088246" cy="114392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529162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50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diagrams and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>
            <a:extLst>
              <a:ext uri="{FF2B5EF4-FFF2-40B4-BE49-F238E27FC236}">
                <a16:creationId xmlns:a16="http://schemas.microsoft.com/office/drawing/2014/main" id="{43EC237B-E88E-4FE5-BD57-9961FCFFFBF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1F3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ACA4B8EC-461A-4C07-A51F-7E60E14F5EA0}"/>
              </a:ext>
            </a:extLst>
          </p:cNvPr>
          <p:cNvSpPr/>
          <p:nvPr userDrawn="1"/>
        </p:nvSpPr>
        <p:spPr>
          <a:xfrm>
            <a:off x="0" y="313267"/>
            <a:ext cx="12192000" cy="8974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E4332158-D822-4D14-BD2A-5F6CE8BB2412}"/>
              </a:ext>
            </a:extLst>
          </p:cNvPr>
          <p:cNvSpPr/>
          <p:nvPr userDrawn="1"/>
        </p:nvSpPr>
        <p:spPr>
          <a:xfrm>
            <a:off x="0" y="313267"/>
            <a:ext cx="124800" cy="8974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50B1973B-7250-4E54-8EB2-F94573222A74}"/>
              </a:ext>
            </a:extLst>
          </p:cNvPr>
          <p:cNvGrpSpPr/>
          <p:nvPr userDrawn="1"/>
        </p:nvGrpSpPr>
        <p:grpSpPr>
          <a:xfrm>
            <a:off x="10136049" y="559791"/>
            <a:ext cx="1440000" cy="404419"/>
            <a:chOff x="-5709525" y="-5645283"/>
            <a:chExt cx="19213689" cy="5396089"/>
          </a:xfrm>
        </p:grpSpPr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B1542C2E-7059-4E3F-9965-C105A4F349C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5709525" y="-5645283"/>
              <a:ext cx="19213689" cy="5396089"/>
            </a:xfrm>
            <a:prstGeom prst="rect">
              <a:avLst/>
            </a:prstGeom>
          </p:spPr>
        </p:pic>
        <p:sp>
          <p:nvSpPr>
            <p:cNvPr id="32" name="Freeform 26">
              <a:extLst>
                <a:ext uri="{FF2B5EF4-FFF2-40B4-BE49-F238E27FC236}">
                  <a16:creationId xmlns:a16="http://schemas.microsoft.com/office/drawing/2014/main" id="{A3711BF2-A19C-4508-A7B9-EB1A1A330D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709525" y="-5645283"/>
              <a:ext cx="1287463" cy="1493837"/>
            </a:xfrm>
            <a:custGeom>
              <a:avLst/>
              <a:gdLst>
                <a:gd name="T0" fmla="*/ 86 w 114"/>
                <a:gd name="T1" fmla="*/ 0 h 132"/>
                <a:gd name="T2" fmla="*/ 1 w 114"/>
                <a:gd name="T3" fmla="*/ 20 h 132"/>
                <a:gd name="T4" fmla="*/ 0 w 114"/>
                <a:gd name="T5" fmla="*/ 31 h 132"/>
                <a:gd name="T6" fmla="*/ 31 w 114"/>
                <a:gd name="T7" fmla="*/ 132 h 132"/>
                <a:gd name="T8" fmla="*/ 114 w 114"/>
                <a:gd name="T9" fmla="*/ 115 h 132"/>
                <a:gd name="T10" fmla="*/ 114 w 114"/>
                <a:gd name="T11" fmla="*/ 106 h 132"/>
                <a:gd name="T12" fmla="*/ 94 w 114"/>
                <a:gd name="T13" fmla="*/ 0 h 132"/>
                <a:gd name="T14" fmla="*/ 86 w 114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32">
                  <a:moveTo>
                    <a:pt x="86" y="0"/>
                  </a:moveTo>
                  <a:cubicBezTo>
                    <a:pt x="52" y="0"/>
                    <a:pt x="25" y="8"/>
                    <a:pt x="1" y="20"/>
                  </a:cubicBezTo>
                  <a:cubicBezTo>
                    <a:pt x="1" y="23"/>
                    <a:pt x="0" y="25"/>
                    <a:pt x="0" y="31"/>
                  </a:cubicBezTo>
                  <a:cubicBezTo>
                    <a:pt x="0" y="56"/>
                    <a:pt x="18" y="102"/>
                    <a:pt x="31" y="132"/>
                  </a:cubicBezTo>
                  <a:cubicBezTo>
                    <a:pt x="56" y="132"/>
                    <a:pt x="92" y="125"/>
                    <a:pt x="114" y="115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81"/>
                    <a:pt x="113" y="24"/>
                    <a:pt x="94" y="0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sz="240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eingeben</a:t>
            </a:r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8486A62-8E09-4568-936F-59199FC6D1B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613835" y="6417600"/>
            <a:ext cx="9523765" cy="240000"/>
          </a:xfrm>
        </p:spPr>
        <p:txBody>
          <a:bodyPr/>
          <a:lstStyle>
            <a:lvl1pPr algn="l">
              <a:defRPr/>
            </a:lvl1pPr>
          </a:lstStyle>
          <a:p>
            <a:pPr algn="l"/>
            <a:endParaRPr lang="de-CH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2404CB0-61AA-4EEA-80F8-CFF91A4646C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B84BE2A-AF72-474C-A580-796179F45542}" type="slidenum">
              <a:rPr lang="de-CH" smtClean="0"/>
              <a:pPr/>
              <a:t>‹Nr.›</a:t>
            </a:fld>
            <a:endParaRPr lang="de-CH" kern="60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CCD68D62-2F79-4667-9D7D-08EC58AC9EE0}"/>
              </a:ext>
            </a:extLst>
          </p:cNvPr>
          <p:cNvSpPr txBox="1"/>
          <p:nvPr userDrawn="1"/>
        </p:nvSpPr>
        <p:spPr>
          <a:xfrm>
            <a:off x="-3840000" y="1824563"/>
            <a:ext cx="3360000" cy="1714490"/>
          </a:xfrm>
          <a:prstGeom prst="rect">
            <a:avLst/>
          </a:prstGeom>
          <a:solidFill>
            <a:schemeClr val="accent2"/>
          </a:solidFill>
        </p:spPr>
        <p:txBody>
          <a:bodyPr wrap="square" lIns="144000" tIns="72000" rIns="144000" bIns="72000" rtlCol="0">
            <a:spAutoFit/>
          </a:bodyPr>
          <a:lstStyle/>
          <a:p>
            <a:r>
              <a:rPr lang="de-DE" sz="1133" b="0" kern="600">
                <a:solidFill>
                  <a:schemeClr val="bg1"/>
                </a:solidFill>
                <a:latin typeface="+mj-lt"/>
              </a:rPr>
              <a:t>Enthaltene Textebenen:</a:t>
            </a:r>
          </a:p>
          <a:p>
            <a:r>
              <a:rPr lang="de-DE" sz="1133" b="0" kern="600">
                <a:solidFill>
                  <a:schemeClr val="bg1"/>
                </a:solidFill>
                <a:latin typeface="+mn-lt"/>
              </a:rPr>
              <a:t>Ebene</a:t>
            </a: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 1 = Normaler Tex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2 = Auflist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3 = Auflist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4 = Nummerier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5 = Nummerier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6 = Untertitel mit Abstand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7 = Kleiner Text, fett (Legenden-Titel)</a:t>
            </a:r>
            <a:endParaRPr lang="de-CH" sz="1133" b="0" kern="600">
              <a:solidFill>
                <a:schemeClr val="bg1"/>
              </a:solidFill>
              <a:latin typeface="+mn-lt"/>
            </a:endParaRP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8 = Kleiner Text (Legenden)</a:t>
            </a:r>
          </a:p>
        </p:txBody>
      </p:sp>
      <p:sp>
        <p:nvSpPr>
          <p:cNvPr id="24" name="Textplatzhalter 10">
            <a:extLst>
              <a:ext uri="{FF2B5EF4-FFF2-40B4-BE49-F238E27FC236}">
                <a16:creationId xmlns:a16="http://schemas.microsoft.com/office/drawing/2014/main" id="{31324497-E7BC-4D2B-8081-EE46EACC4B6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13835" y="1824563"/>
            <a:ext cx="5327655" cy="4417488"/>
          </a:xfrm>
        </p:spPr>
        <p:txBody>
          <a:bodyPr/>
          <a:lstStyle>
            <a:lvl5pPr>
              <a:defRPr/>
            </a:lvl5pPr>
            <a:lvl8pPr>
              <a:defRPr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Diagrammplatzhalter 3">
            <a:extLst>
              <a:ext uri="{FF2B5EF4-FFF2-40B4-BE49-F238E27FC236}">
                <a16:creationId xmlns:a16="http://schemas.microsoft.com/office/drawing/2014/main" id="{BA736CF7-4F39-49A1-93A5-40BDEEDC563E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6246284" y="1824563"/>
            <a:ext cx="2590800" cy="4417488"/>
          </a:xfrm>
        </p:spPr>
        <p:txBody>
          <a:bodyPr anchor="ctr" anchorCtr="0"/>
          <a:lstStyle>
            <a:lvl1pPr algn="ctr">
              <a:lnSpc>
                <a:spcPts val="2067"/>
              </a:lnSpc>
              <a:defRPr sz="1533" baseline="0">
                <a:latin typeface="+mj-lt"/>
              </a:defRPr>
            </a:lvl1pPr>
          </a:lstStyle>
          <a:p>
            <a:r>
              <a:rPr lang="en-US"/>
              <a:t>Click icon to add chart</a:t>
            </a:r>
            <a:endParaRPr lang="de-CH"/>
          </a:p>
        </p:txBody>
      </p:sp>
      <p:sp>
        <p:nvSpPr>
          <p:cNvPr id="33" name="Diagrammplatzhalter 3">
            <a:extLst>
              <a:ext uri="{FF2B5EF4-FFF2-40B4-BE49-F238E27FC236}">
                <a16:creationId xmlns:a16="http://schemas.microsoft.com/office/drawing/2014/main" id="{C43BF030-AF9F-479D-9EE9-FB7E8C194358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8983134" y="1824567"/>
            <a:ext cx="2588631" cy="4417488"/>
          </a:xfrm>
        </p:spPr>
        <p:txBody>
          <a:bodyPr anchor="ctr" anchorCtr="0"/>
          <a:lstStyle>
            <a:lvl1pPr algn="ctr">
              <a:lnSpc>
                <a:spcPts val="2067"/>
              </a:lnSpc>
              <a:defRPr sz="1533" baseline="0">
                <a:latin typeface="+mj-lt"/>
              </a:defRPr>
            </a:lvl1pPr>
          </a:lstStyle>
          <a:p>
            <a:r>
              <a:rPr lang="en-US"/>
              <a:t>Click icon to add chart</a:t>
            </a:r>
            <a:endParaRPr lang="de-CH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3C8EA230-6068-4770-9AAF-F7A2D213496A}"/>
              </a:ext>
            </a:extLst>
          </p:cNvPr>
          <p:cNvSpPr txBox="1"/>
          <p:nvPr userDrawn="1"/>
        </p:nvSpPr>
        <p:spPr>
          <a:xfrm flipH="1">
            <a:off x="13152000" y="1824566"/>
            <a:ext cx="3360000" cy="4417484"/>
          </a:xfrm>
          <a:prstGeom prst="rect">
            <a:avLst/>
          </a:prstGeom>
          <a:solidFill>
            <a:schemeClr val="accent4"/>
          </a:solidFill>
        </p:spPr>
        <p:txBody>
          <a:bodyPr wrap="square" lIns="360000" tIns="72000" rIns="144000" bIns="72000" rtlCol="0" anchor="ctr" anchorCtr="0">
            <a:noAutofit/>
          </a:bodyPr>
          <a:lstStyle/>
          <a:p>
            <a:r>
              <a:rPr lang="de-DE" sz="1133" b="0" kern="600">
                <a:solidFill>
                  <a:schemeClr val="bg1"/>
                </a:solidFill>
                <a:latin typeface="+mj-lt"/>
              </a:rPr>
              <a:t>Dieses Diagramm-Design speichern:</a:t>
            </a:r>
          </a:p>
          <a:p>
            <a:pPr marL="153596" indent="-153596">
              <a:buFont typeface="+mj-lt"/>
              <a:buAutoNum type="arabicPeriod"/>
            </a:pPr>
            <a:r>
              <a:rPr lang="de-CH" sz="1133" kern="600">
                <a:solidFill>
                  <a:schemeClr val="bg1"/>
                </a:solidFill>
              </a:rPr>
              <a:t>Diagramm anklicken.</a:t>
            </a:r>
          </a:p>
          <a:p>
            <a:pPr marL="153596" indent="-153596">
              <a:buFont typeface="+mj-lt"/>
              <a:buAutoNum type="arabicPeriod"/>
            </a:pPr>
            <a:r>
              <a:rPr lang="de-CH" sz="1133" kern="600">
                <a:solidFill>
                  <a:schemeClr val="bg1"/>
                </a:solidFill>
              </a:rPr>
              <a:t>Rechtsklick auf die Diagrammfläche </a:t>
            </a:r>
            <a:br>
              <a:rPr lang="de-CH" sz="1133" kern="600">
                <a:solidFill>
                  <a:schemeClr val="bg1"/>
                </a:solidFill>
              </a:rPr>
            </a:br>
            <a:r>
              <a:rPr lang="de-CH" sz="1133" kern="600">
                <a:solidFill>
                  <a:schemeClr val="bg1"/>
                </a:solidFill>
              </a:rPr>
              <a:t>(kein Element anklicken, sondern irgendwo in </a:t>
            </a:r>
            <a:br>
              <a:rPr lang="de-CH" sz="1133" kern="600">
                <a:solidFill>
                  <a:schemeClr val="bg1"/>
                </a:solidFill>
              </a:rPr>
            </a:br>
            <a:r>
              <a:rPr lang="de-CH" sz="1133" kern="600">
                <a:solidFill>
                  <a:schemeClr val="bg1"/>
                </a:solidFill>
              </a:rPr>
              <a:t>den leeren Hintergrund klicken) und Eintrag </a:t>
            </a:r>
            <a:br>
              <a:rPr lang="de-CH" sz="1133" kern="600">
                <a:solidFill>
                  <a:schemeClr val="bg1"/>
                </a:solidFill>
              </a:rPr>
            </a:br>
            <a:r>
              <a:rPr lang="de-CH" sz="1133" kern="600">
                <a:solidFill>
                  <a:schemeClr val="bg1"/>
                </a:solidFill>
              </a:rPr>
              <a:t>»Als Vorlage speichern…« auswählen.</a:t>
            </a:r>
          </a:p>
          <a:p>
            <a:pPr marL="153596" indent="-153596">
              <a:buFont typeface="+mj-lt"/>
              <a:buAutoNum type="arabicPeriod"/>
            </a:pPr>
            <a:r>
              <a:rPr lang="de-CH" sz="1133" kern="600">
                <a:solidFill>
                  <a:schemeClr val="bg1"/>
                </a:solidFill>
              </a:rPr>
              <a:t>Sinnvollen Namen geben, zum Beispiel »</a:t>
            </a:r>
            <a:r>
              <a:rPr lang="de-CH" sz="1133" kern="600" err="1">
                <a:solidFill>
                  <a:schemeClr val="bg1"/>
                </a:solidFill>
              </a:rPr>
              <a:t>IDM_Powerpoint_Kuchendiagramm</a:t>
            </a:r>
            <a:r>
              <a:rPr lang="de-CH" sz="1133" kern="600">
                <a:solidFill>
                  <a:schemeClr val="bg1"/>
                </a:solidFill>
              </a:rPr>
              <a:t>_</a:t>
            </a:r>
            <a:br>
              <a:rPr lang="de-CH" sz="1133" kern="600">
                <a:solidFill>
                  <a:schemeClr val="bg1"/>
                </a:solidFill>
              </a:rPr>
            </a:br>
            <a:r>
              <a:rPr lang="de-CH" sz="1133" kern="600">
                <a:solidFill>
                  <a:schemeClr val="bg1"/>
                </a:solidFill>
              </a:rPr>
              <a:t>1-farbig_2021«</a:t>
            </a:r>
            <a:r>
              <a:rPr lang="de-DE" sz="1133" b="0" kern="600">
                <a:solidFill>
                  <a:schemeClr val="bg1"/>
                </a:solidFill>
                <a:latin typeface="+mn-lt"/>
              </a:rPr>
              <a:t>.</a:t>
            </a:r>
          </a:p>
          <a:p>
            <a:endParaRPr lang="de-DE" sz="1133" kern="600">
              <a:solidFill>
                <a:schemeClr val="bg1"/>
              </a:solidFill>
            </a:endParaRPr>
          </a:p>
          <a:p>
            <a:r>
              <a:rPr lang="de-DE" sz="1133" b="0" kern="600">
                <a:solidFill>
                  <a:schemeClr val="bg1"/>
                </a:solidFill>
                <a:latin typeface="+mj-lt"/>
              </a:rPr>
              <a:t>Diagramme visuell ansprechend skalieren </a:t>
            </a:r>
            <a:br>
              <a:rPr lang="de-DE" sz="1133" b="0" kern="600">
                <a:solidFill>
                  <a:schemeClr val="bg1"/>
                </a:solidFill>
                <a:latin typeface="+mj-lt"/>
              </a:rPr>
            </a:br>
            <a:r>
              <a:rPr lang="de-DE" sz="1133" b="0" kern="600">
                <a:solidFill>
                  <a:schemeClr val="bg1"/>
                </a:solidFill>
                <a:latin typeface="+mj-lt"/>
              </a:rPr>
              <a:t>(im Normalfall auf die ganze Boxbreite bzw. auf die Hilfslinien), aber immer vertikal eingemittet positionieren.</a:t>
            </a:r>
          </a:p>
          <a:p>
            <a:endParaRPr lang="de-DE" sz="1133" kern="600">
              <a:solidFill>
                <a:schemeClr val="bg1"/>
              </a:solidFill>
              <a:latin typeface="+mj-lt"/>
            </a:endParaRPr>
          </a:p>
          <a:p>
            <a:r>
              <a:rPr lang="de-DE" sz="1133" b="0" kern="600">
                <a:solidFill>
                  <a:schemeClr val="bg1"/>
                </a:solidFill>
                <a:latin typeface="+mj-lt"/>
              </a:rPr>
              <a:t>Diagramme auf »einfarbig« einstellen und Konturen immer weglassen (über Format &gt; Formkontur).</a:t>
            </a:r>
          </a:p>
          <a:p>
            <a:endParaRPr lang="de-DE" sz="1133" b="0" kern="600">
              <a:solidFill>
                <a:schemeClr val="bg1"/>
              </a:solidFill>
              <a:latin typeface="+mn-lt"/>
            </a:endParaRPr>
          </a:p>
          <a:p>
            <a:r>
              <a:rPr lang="de-DE" sz="1133" kern="600">
                <a:solidFill>
                  <a:schemeClr val="bg1"/>
                </a:solidFill>
                <a:latin typeface="+mj-lt"/>
              </a:rPr>
              <a:t>Richtige Schriftdefinitionen:</a:t>
            </a:r>
          </a:p>
          <a:p>
            <a:r>
              <a:rPr lang="de-DE" sz="1133" b="0" kern="600">
                <a:solidFill>
                  <a:schemeClr val="bg1"/>
                </a:solidFill>
                <a:latin typeface="+mn-lt"/>
              </a:rPr>
              <a:t>Diagrammtitel = 16</a:t>
            </a:r>
            <a:r>
              <a:rPr lang="de-DE" sz="1133" kern="600">
                <a:solidFill>
                  <a:schemeClr val="bg1"/>
                </a:solidFill>
              </a:rPr>
              <a:t>pt</a:t>
            </a:r>
          </a:p>
          <a:p>
            <a:r>
              <a:rPr lang="de-DE" sz="1133" b="0" kern="600">
                <a:solidFill>
                  <a:schemeClr val="bg1"/>
                </a:solidFill>
                <a:latin typeface="+mn-lt"/>
              </a:rPr>
              <a:t>Rest = 11.5pt</a:t>
            </a:r>
            <a:endParaRPr lang="de-CH" sz="1133" b="0" kern="60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47521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85">
          <p15:clr>
            <a:srgbClr val="FBAE40"/>
          </p15:clr>
        </p15:guide>
        <p15:guide id="2" orient="horz" pos="1829">
          <p15:clr>
            <a:srgbClr val="FBAE40"/>
          </p15:clr>
        </p15:guide>
        <p15:guide id="3" pos="2807">
          <p15:clr>
            <a:srgbClr val="FBAE40"/>
          </p15:clr>
        </p15:guide>
        <p15:guide id="4" pos="2951">
          <p15:clr>
            <a:srgbClr val="FBAE40"/>
          </p15:clr>
        </p15:guide>
        <p15:guide id="5" pos="4175">
          <p15:clr>
            <a:srgbClr val="FBAE40"/>
          </p15:clr>
        </p15:guide>
        <p15:guide id="6" pos="4244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hteck 25">
            <a:extLst>
              <a:ext uri="{FF2B5EF4-FFF2-40B4-BE49-F238E27FC236}">
                <a16:creationId xmlns:a16="http://schemas.microsoft.com/office/drawing/2014/main" id="{AD11B847-8844-4C12-8C92-2DA34B8DC8F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1F3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4BCFBD67-3D02-48A5-984D-6DB528074A32}"/>
              </a:ext>
            </a:extLst>
          </p:cNvPr>
          <p:cNvSpPr/>
          <p:nvPr userDrawn="1"/>
        </p:nvSpPr>
        <p:spPr>
          <a:xfrm>
            <a:off x="0" y="313267"/>
            <a:ext cx="12192000" cy="8974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F64FD658-D53C-4FD9-818B-E61E355097BA}"/>
              </a:ext>
            </a:extLst>
          </p:cNvPr>
          <p:cNvSpPr/>
          <p:nvPr userDrawn="1"/>
        </p:nvSpPr>
        <p:spPr>
          <a:xfrm>
            <a:off x="0" y="313267"/>
            <a:ext cx="124800" cy="8974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9747C7CC-B53B-4F90-9CFE-411FC28A31B7}"/>
              </a:ext>
            </a:extLst>
          </p:cNvPr>
          <p:cNvGrpSpPr/>
          <p:nvPr userDrawn="1"/>
        </p:nvGrpSpPr>
        <p:grpSpPr>
          <a:xfrm>
            <a:off x="10136049" y="559791"/>
            <a:ext cx="1440000" cy="404419"/>
            <a:chOff x="-5709525" y="-5645283"/>
            <a:chExt cx="19213689" cy="5396089"/>
          </a:xfrm>
        </p:grpSpPr>
        <p:pic>
          <p:nvPicPr>
            <p:cNvPr id="46" name="Grafik 45">
              <a:extLst>
                <a:ext uri="{FF2B5EF4-FFF2-40B4-BE49-F238E27FC236}">
                  <a16:creationId xmlns:a16="http://schemas.microsoft.com/office/drawing/2014/main" id="{22751ED6-7698-47E2-8C5C-6E0B7DC7305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5709525" y="-5645283"/>
              <a:ext cx="19213689" cy="5396089"/>
            </a:xfrm>
            <a:prstGeom prst="rect">
              <a:avLst/>
            </a:prstGeom>
          </p:spPr>
        </p:pic>
        <p:sp>
          <p:nvSpPr>
            <p:cNvPr id="47" name="Freeform 26">
              <a:extLst>
                <a:ext uri="{FF2B5EF4-FFF2-40B4-BE49-F238E27FC236}">
                  <a16:creationId xmlns:a16="http://schemas.microsoft.com/office/drawing/2014/main" id="{E1543908-5773-4844-8AC5-B0A248C2DF6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709525" y="-5645283"/>
              <a:ext cx="1287463" cy="1493837"/>
            </a:xfrm>
            <a:custGeom>
              <a:avLst/>
              <a:gdLst>
                <a:gd name="T0" fmla="*/ 86 w 114"/>
                <a:gd name="T1" fmla="*/ 0 h 132"/>
                <a:gd name="T2" fmla="*/ 1 w 114"/>
                <a:gd name="T3" fmla="*/ 20 h 132"/>
                <a:gd name="T4" fmla="*/ 0 w 114"/>
                <a:gd name="T5" fmla="*/ 31 h 132"/>
                <a:gd name="T6" fmla="*/ 31 w 114"/>
                <a:gd name="T7" fmla="*/ 132 h 132"/>
                <a:gd name="T8" fmla="*/ 114 w 114"/>
                <a:gd name="T9" fmla="*/ 115 h 132"/>
                <a:gd name="T10" fmla="*/ 114 w 114"/>
                <a:gd name="T11" fmla="*/ 106 h 132"/>
                <a:gd name="T12" fmla="*/ 94 w 114"/>
                <a:gd name="T13" fmla="*/ 0 h 132"/>
                <a:gd name="T14" fmla="*/ 86 w 114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32">
                  <a:moveTo>
                    <a:pt x="86" y="0"/>
                  </a:moveTo>
                  <a:cubicBezTo>
                    <a:pt x="52" y="0"/>
                    <a:pt x="25" y="8"/>
                    <a:pt x="1" y="20"/>
                  </a:cubicBezTo>
                  <a:cubicBezTo>
                    <a:pt x="1" y="23"/>
                    <a:pt x="0" y="25"/>
                    <a:pt x="0" y="31"/>
                  </a:cubicBezTo>
                  <a:cubicBezTo>
                    <a:pt x="0" y="56"/>
                    <a:pt x="18" y="102"/>
                    <a:pt x="31" y="132"/>
                  </a:cubicBezTo>
                  <a:cubicBezTo>
                    <a:pt x="56" y="132"/>
                    <a:pt x="92" y="125"/>
                    <a:pt x="114" y="115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81"/>
                    <a:pt x="113" y="24"/>
                    <a:pt x="94" y="0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sz="240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80CCCC74-FE85-4957-B2EF-526A07E873C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3833" y="1824000"/>
            <a:ext cx="4318000" cy="960000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txBody>
          <a:bodyPr lIns="7920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bg1"/>
                </a:solidFill>
                <a:latin typeface="+mj-lt"/>
              </a:defRPr>
            </a:lvl1pPr>
            <a:lvl2pPr marL="153596" indent="-153596">
              <a:lnSpc>
                <a:spcPct val="90000"/>
              </a:lnSpc>
              <a:defRPr sz="1533" cap="none" baseline="0">
                <a:solidFill>
                  <a:schemeClr val="bg1"/>
                </a:solidFill>
                <a:latin typeface="+mn-lt"/>
              </a:defRPr>
            </a:lvl2pPr>
            <a:lvl3pPr marL="307192" indent="-153596">
              <a:lnSpc>
                <a:spcPct val="90000"/>
              </a:lnSpc>
              <a:defRPr sz="1533" cap="none" baseline="0">
                <a:solidFill>
                  <a:schemeClr val="bg1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bg1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31" name="Bildplatzhalter 6">
            <a:extLst>
              <a:ext uri="{FF2B5EF4-FFF2-40B4-BE49-F238E27FC236}">
                <a16:creationId xmlns:a16="http://schemas.microsoft.com/office/drawing/2014/main" id="{6574870F-10DA-42F4-BB77-C5E93EE9482A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14400" y="1824000"/>
            <a:ext cx="960000" cy="960000"/>
          </a:xfrm>
          <a:prstGeom prst="rect">
            <a:avLst/>
          </a:prstGeom>
          <a:noFill/>
          <a:ln w="12700">
            <a:noFill/>
          </a:ln>
        </p:spPr>
        <p:txBody>
          <a:bodyPr anchor="ctr" anchorCtr="0"/>
          <a:lstStyle>
            <a:lvl1pPr algn="ctr">
              <a:lnSpc>
                <a:spcPts val="2067"/>
              </a:lnSpc>
              <a:defRPr sz="1533" baseline="0">
                <a:latin typeface="+mj-lt"/>
              </a:defRPr>
            </a:lvl1pPr>
          </a:lstStyle>
          <a:p>
            <a:r>
              <a:rPr lang="de-CH"/>
              <a:t>Portrait einfügen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94D676EA-710D-4543-ACFF-7D706C2A8D7C}"/>
              </a:ext>
            </a:extLst>
          </p:cNvPr>
          <p:cNvGrpSpPr/>
          <p:nvPr userDrawn="1"/>
        </p:nvGrpSpPr>
        <p:grpSpPr>
          <a:xfrm flipH="1">
            <a:off x="-3840000" y="1824567"/>
            <a:ext cx="3360000" cy="3247221"/>
            <a:chOff x="-2880000" y="1428750"/>
            <a:chExt cx="2520000" cy="2435416"/>
          </a:xfrm>
        </p:grpSpPr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C5DEF3B4-5092-4A72-964F-20FB37092A93}"/>
                </a:ext>
              </a:extLst>
            </p:cNvPr>
            <p:cNvSpPr txBox="1"/>
            <p:nvPr userDrawn="1"/>
          </p:nvSpPr>
          <p:spPr>
            <a:xfrm flipH="1">
              <a:off x="-2880000" y="1428750"/>
              <a:ext cx="2520000" cy="2435416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108000" tIns="54000" rIns="108000" bIns="54000" rtlCol="0">
              <a:spAutoFit/>
            </a:bodyPr>
            <a:lstStyle/>
            <a:p>
              <a:pPr marL="0" indent="0">
                <a:buFontTx/>
                <a:buNone/>
              </a:pPr>
              <a:r>
                <a:rPr lang="de-DE" sz="1133" b="0" kern="600" baseline="0">
                  <a:solidFill>
                    <a:schemeClr val="bg1"/>
                  </a:solidFill>
                </a:rPr>
                <a:t>Nachdem Sie Ihr Bild platziert haben, können </a:t>
              </a:r>
              <a:br>
                <a:rPr lang="de-DE" sz="1133" b="0" kern="600" baseline="0">
                  <a:solidFill>
                    <a:schemeClr val="bg1"/>
                  </a:solidFill>
                </a:rPr>
              </a:br>
              <a:r>
                <a:rPr lang="de-DE" sz="1133" b="0" kern="600" baseline="0">
                  <a:solidFill>
                    <a:schemeClr val="bg1"/>
                  </a:solidFill>
                </a:rPr>
                <a:t>Sie es über »Bildtools -&gt; Zuschneiden« innerhalb der hier definierten »</a:t>
              </a:r>
              <a:r>
                <a:rPr lang="de-DE" sz="1133" b="0" kern="600" baseline="0" err="1">
                  <a:solidFill>
                    <a:schemeClr val="bg1"/>
                  </a:solidFill>
                </a:rPr>
                <a:t>Bildbox</a:t>
              </a:r>
              <a:r>
                <a:rPr lang="de-DE" sz="1133" b="0" kern="600" baseline="0">
                  <a:solidFill>
                    <a:schemeClr val="bg1"/>
                  </a:solidFill>
                </a:rPr>
                <a:t>« verschieben und/</a:t>
              </a:r>
              <a:br>
                <a:rPr lang="de-DE" sz="1133" b="0" kern="600" baseline="0">
                  <a:solidFill>
                    <a:schemeClr val="bg1"/>
                  </a:solidFill>
                </a:rPr>
              </a:br>
              <a:r>
                <a:rPr lang="de-DE" sz="1133" b="0" kern="600" baseline="0">
                  <a:solidFill>
                    <a:schemeClr val="bg1"/>
                  </a:solidFill>
                </a:rPr>
                <a:t>oder beschneiden.</a:t>
              </a:r>
              <a:r>
                <a:rPr lang="de-CH" sz="1133" b="0" kern="600" baseline="0">
                  <a:solidFill>
                    <a:schemeClr val="bg1"/>
                  </a:solidFill>
                </a:rPr>
                <a:t> Durch Klicken auf »Einpassen« wird das Bild passend skaliert.</a:t>
              </a:r>
            </a:p>
            <a:p>
              <a:pPr marL="0" indent="0">
                <a:buFontTx/>
                <a:buNone/>
              </a:pPr>
              <a:endParaRPr lang="de-CH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CH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Enthaltene Textebenen:</a:t>
              </a:r>
            </a:p>
            <a:p>
              <a:r>
                <a:rPr lang="de-DE" sz="1133" b="0" kern="600">
                  <a:solidFill>
                    <a:schemeClr val="bg1"/>
                  </a:solidFill>
                  <a:latin typeface="+mn-lt"/>
                </a:rPr>
                <a:t>Ebene</a:t>
              </a:r>
              <a:r>
                <a:rPr lang="de-DE" sz="1133" b="0" kern="600" baseline="0">
                  <a:solidFill>
                    <a:schemeClr val="bg1"/>
                  </a:solidFill>
                  <a:latin typeface="+mn-lt"/>
                </a:rPr>
                <a:t> 1 = Vorname Name</a:t>
              </a:r>
            </a:p>
            <a:p>
              <a:r>
                <a:rPr lang="de-DE" sz="1133" b="0" kern="600" baseline="0">
                  <a:solidFill>
                    <a:schemeClr val="bg1"/>
                  </a:solidFill>
                  <a:latin typeface="+mn-lt"/>
                </a:rPr>
                <a:t>Ebene 2 = Funktion</a:t>
              </a:r>
              <a:endParaRPr lang="de-DE" sz="1133" b="0" kern="600" baseline="0">
                <a:solidFill>
                  <a:schemeClr val="bg1"/>
                </a:solidFill>
              </a:endParaRPr>
            </a:p>
          </p:txBody>
        </p:sp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3AD28544-B5B4-4719-B902-788CB165720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-1666412" y="2172471"/>
              <a:ext cx="1199925" cy="1164018"/>
            </a:xfrm>
            <a:prstGeom prst="rect">
              <a:avLst/>
            </a:prstGeom>
          </p:spPr>
        </p:pic>
      </p:grp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89D44E5-7746-44E2-98AB-1ACF191DA1AC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endParaRPr lang="de-CH" kern="60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91E25F4-1829-4FED-9ED5-1D42204799FA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5B84BE2A-AF72-474C-A580-796179F45542}" type="slidenum">
              <a:rPr lang="de-CH" smtClean="0"/>
              <a:pPr/>
              <a:t>‹Nr.›</a:t>
            </a:fld>
            <a:endParaRPr lang="de-CH" kern="600"/>
          </a:p>
        </p:txBody>
      </p:sp>
      <p:sp>
        <p:nvSpPr>
          <p:cNvPr id="48" name="Textplatzhalter 5">
            <a:extLst>
              <a:ext uri="{FF2B5EF4-FFF2-40B4-BE49-F238E27FC236}">
                <a16:creationId xmlns:a16="http://schemas.microsoft.com/office/drawing/2014/main" id="{30328B5B-E595-4CAD-96DF-5F2FC138B53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13833" y="2976684"/>
            <a:ext cx="4318000" cy="960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7920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accent2"/>
                </a:solidFill>
                <a:latin typeface="+mj-lt"/>
              </a:defRPr>
            </a:lvl1pPr>
            <a:lvl2pPr marL="153596" indent="-153596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2pPr>
            <a:lvl3pPr marL="307192" indent="-153596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accent2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49" name="Bildplatzhalter 6">
            <a:extLst>
              <a:ext uri="{FF2B5EF4-FFF2-40B4-BE49-F238E27FC236}">
                <a16:creationId xmlns:a16="http://schemas.microsoft.com/office/drawing/2014/main" id="{18DB94BD-96A7-4ABC-84E0-2BA73780863E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614400" y="2976684"/>
            <a:ext cx="960000" cy="960000"/>
          </a:xfrm>
          <a:prstGeom prst="rect">
            <a:avLst/>
          </a:prstGeom>
          <a:noFill/>
          <a:ln w="12700">
            <a:noFill/>
          </a:ln>
        </p:spPr>
        <p:txBody>
          <a:bodyPr anchor="ctr" anchorCtr="0"/>
          <a:lstStyle>
            <a:lvl1pPr algn="ctr">
              <a:lnSpc>
                <a:spcPts val="2067"/>
              </a:lnSpc>
              <a:defRPr sz="1533" baseline="0">
                <a:latin typeface="+mj-lt"/>
              </a:defRPr>
            </a:lvl1pPr>
          </a:lstStyle>
          <a:p>
            <a:r>
              <a:rPr lang="de-CH"/>
              <a:t>Portrait einfügen</a:t>
            </a:r>
          </a:p>
        </p:txBody>
      </p:sp>
      <p:sp>
        <p:nvSpPr>
          <p:cNvPr id="50" name="Textplatzhalter 5">
            <a:extLst>
              <a:ext uri="{FF2B5EF4-FFF2-40B4-BE49-F238E27FC236}">
                <a16:creationId xmlns:a16="http://schemas.microsoft.com/office/drawing/2014/main" id="{C25E0A5C-6EB3-442B-A2E0-BF4839264BBB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13833" y="4129368"/>
            <a:ext cx="4318000" cy="960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7920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accent2"/>
                </a:solidFill>
                <a:latin typeface="+mj-lt"/>
              </a:defRPr>
            </a:lvl1pPr>
            <a:lvl2pPr marL="153596" indent="-153596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2pPr>
            <a:lvl3pPr marL="307192" indent="-153596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accent2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51" name="Bildplatzhalter 6">
            <a:extLst>
              <a:ext uri="{FF2B5EF4-FFF2-40B4-BE49-F238E27FC236}">
                <a16:creationId xmlns:a16="http://schemas.microsoft.com/office/drawing/2014/main" id="{7A1BD900-14CE-40B5-B3C4-D4293DFFBD5B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614400" y="4129368"/>
            <a:ext cx="960000" cy="960000"/>
          </a:xfrm>
          <a:prstGeom prst="rect">
            <a:avLst/>
          </a:prstGeom>
          <a:noFill/>
          <a:ln w="12700">
            <a:noFill/>
          </a:ln>
        </p:spPr>
        <p:txBody>
          <a:bodyPr anchor="ctr" anchorCtr="0"/>
          <a:lstStyle>
            <a:lvl1pPr algn="ctr">
              <a:lnSpc>
                <a:spcPts val="2067"/>
              </a:lnSpc>
              <a:defRPr sz="1533" baseline="0">
                <a:latin typeface="+mj-lt"/>
              </a:defRPr>
            </a:lvl1pPr>
          </a:lstStyle>
          <a:p>
            <a:r>
              <a:rPr lang="de-CH"/>
              <a:t>Portrait einfügen</a:t>
            </a:r>
          </a:p>
        </p:txBody>
      </p:sp>
      <p:sp>
        <p:nvSpPr>
          <p:cNvPr id="52" name="Textplatzhalter 5">
            <a:extLst>
              <a:ext uri="{FF2B5EF4-FFF2-40B4-BE49-F238E27FC236}">
                <a16:creationId xmlns:a16="http://schemas.microsoft.com/office/drawing/2014/main" id="{0634A702-9D0D-4D93-B5BB-D27A42538F9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13833" y="5282051"/>
            <a:ext cx="4318000" cy="960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7920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accent2"/>
                </a:solidFill>
                <a:latin typeface="+mj-lt"/>
              </a:defRPr>
            </a:lvl1pPr>
            <a:lvl2pPr marL="153596" indent="-153596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2pPr>
            <a:lvl3pPr marL="307192" indent="-153596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accent2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53" name="Bildplatzhalter 6">
            <a:extLst>
              <a:ext uri="{FF2B5EF4-FFF2-40B4-BE49-F238E27FC236}">
                <a16:creationId xmlns:a16="http://schemas.microsoft.com/office/drawing/2014/main" id="{7AF2EE4B-0204-4BA5-8899-2EE484407A17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614400" y="5282051"/>
            <a:ext cx="960000" cy="960000"/>
          </a:xfrm>
          <a:prstGeom prst="rect">
            <a:avLst/>
          </a:prstGeom>
          <a:noFill/>
          <a:ln w="12700">
            <a:noFill/>
          </a:ln>
        </p:spPr>
        <p:txBody>
          <a:bodyPr anchor="ctr" anchorCtr="0"/>
          <a:lstStyle>
            <a:lvl1pPr algn="ctr">
              <a:lnSpc>
                <a:spcPts val="2067"/>
              </a:lnSpc>
              <a:defRPr sz="1533" baseline="0">
                <a:latin typeface="+mj-lt"/>
              </a:defRPr>
            </a:lvl1pPr>
          </a:lstStyle>
          <a:p>
            <a:r>
              <a:rPr lang="de-CH"/>
              <a:t>Portrait einfügen</a:t>
            </a:r>
          </a:p>
        </p:txBody>
      </p:sp>
      <p:sp>
        <p:nvSpPr>
          <p:cNvPr id="54" name="Textplatzhalter 5">
            <a:extLst>
              <a:ext uri="{FF2B5EF4-FFF2-40B4-BE49-F238E27FC236}">
                <a16:creationId xmlns:a16="http://schemas.microsoft.com/office/drawing/2014/main" id="{B2906D4C-FC61-4B68-A35B-686FD270002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894917" y="2976684"/>
            <a:ext cx="4318000" cy="960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7920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accent2"/>
                </a:solidFill>
                <a:latin typeface="+mj-lt"/>
              </a:defRPr>
            </a:lvl1pPr>
            <a:lvl2pPr marL="153596" indent="-153596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2pPr>
            <a:lvl3pPr marL="307192" indent="-153596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accent2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55" name="Bildplatzhalter 6">
            <a:extLst>
              <a:ext uri="{FF2B5EF4-FFF2-40B4-BE49-F238E27FC236}">
                <a16:creationId xmlns:a16="http://schemas.microsoft.com/office/drawing/2014/main" id="{504C4752-5200-4CAD-B0D8-D4833920761A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5895484" y="2976684"/>
            <a:ext cx="960000" cy="960000"/>
          </a:xfrm>
          <a:prstGeom prst="rect">
            <a:avLst/>
          </a:prstGeom>
          <a:noFill/>
          <a:ln w="12700">
            <a:noFill/>
          </a:ln>
        </p:spPr>
        <p:txBody>
          <a:bodyPr anchor="ctr" anchorCtr="0"/>
          <a:lstStyle>
            <a:lvl1pPr algn="ctr">
              <a:lnSpc>
                <a:spcPts val="2067"/>
              </a:lnSpc>
              <a:defRPr sz="1533" baseline="0">
                <a:latin typeface="+mj-lt"/>
              </a:defRPr>
            </a:lvl1pPr>
          </a:lstStyle>
          <a:p>
            <a:r>
              <a:rPr lang="de-CH"/>
              <a:t>Portrait einfügen</a:t>
            </a:r>
          </a:p>
        </p:txBody>
      </p:sp>
      <p:sp>
        <p:nvSpPr>
          <p:cNvPr id="56" name="Textplatzhalter 5">
            <a:extLst>
              <a:ext uri="{FF2B5EF4-FFF2-40B4-BE49-F238E27FC236}">
                <a16:creationId xmlns:a16="http://schemas.microsoft.com/office/drawing/2014/main" id="{8BBC604C-E562-4E97-AF41-EFCAA8152FD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894917" y="4129368"/>
            <a:ext cx="4318000" cy="960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7920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accent2"/>
                </a:solidFill>
                <a:latin typeface="+mj-lt"/>
              </a:defRPr>
            </a:lvl1pPr>
            <a:lvl2pPr marL="153596" indent="-153596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2pPr>
            <a:lvl3pPr marL="307192" indent="-153596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accent2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57" name="Bildplatzhalter 6">
            <a:extLst>
              <a:ext uri="{FF2B5EF4-FFF2-40B4-BE49-F238E27FC236}">
                <a16:creationId xmlns:a16="http://schemas.microsoft.com/office/drawing/2014/main" id="{133EF6CA-CAD0-48F0-BFB5-7F1DC9E343B3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5895484" y="4129368"/>
            <a:ext cx="960000" cy="960000"/>
          </a:xfrm>
          <a:prstGeom prst="rect">
            <a:avLst/>
          </a:prstGeom>
          <a:noFill/>
          <a:ln w="12700">
            <a:noFill/>
          </a:ln>
        </p:spPr>
        <p:txBody>
          <a:bodyPr anchor="ctr" anchorCtr="0"/>
          <a:lstStyle>
            <a:lvl1pPr algn="ctr">
              <a:lnSpc>
                <a:spcPts val="2067"/>
              </a:lnSpc>
              <a:defRPr sz="1533" baseline="0">
                <a:latin typeface="+mj-lt"/>
              </a:defRPr>
            </a:lvl1pPr>
          </a:lstStyle>
          <a:p>
            <a:r>
              <a:rPr lang="de-CH"/>
              <a:t>Portrait einfügen</a:t>
            </a:r>
          </a:p>
        </p:txBody>
      </p:sp>
      <p:sp>
        <p:nvSpPr>
          <p:cNvPr id="58" name="Textplatzhalter 5">
            <a:extLst>
              <a:ext uri="{FF2B5EF4-FFF2-40B4-BE49-F238E27FC236}">
                <a16:creationId xmlns:a16="http://schemas.microsoft.com/office/drawing/2014/main" id="{C7AFFCF3-31D5-47C2-8DCD-DE6AD9D13FC7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894917" y="5282051"/>
            <a:ext cx="4318000" cy="960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7920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accent2"/>
                </a:solidFill>
                <a:latin typeface="+mj-lt"/>
              </a:defRPr>
            </a:lvl1pPr>
            <a:lvl2pPr marL="153596" indent="-153596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2pPr>
            <a:lvl3pPr marL="307192" indent="-153596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accent2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59" name="Bildplatzhalter 6">
            <a:extLst>
              <a:ext uri="{FF2B5EF4-FFF2-40B4-BE49-F238E27FC236}">
                <a16:creationId xmlns:a16="http://schemas.microsoft.com/office/drawing/2014/main" id="{E0CB8A90-B75A-4C18-B72A-4B326575C508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5895484" y="5282051"/>
            <a:ext cx="960000" cy="960000"/>
          </a:xfrm>
          <a:prstGeom prst="rect">
            <a:avLst/>
          </a:prstGeom>
          <a:noFill/>
          <a:ln w="12700">
            <a:noFill/>
          </a:ln>
        </p:spPr>
        <p:txBody>
          <a:bodyPr anchor="ctr" anchorCtr="0"/>
          <a:lstStyle>
            <a:lvl1pPr algn="ctr">
              <a:lnSpc>
                <a:spcPts val="2067"/>
              </a:lnSpc>
              <a:defRPr sz="1533" baseline="0">
                <a:latin typeface="+mj-lt"/>
              </a:defRPr>
            </a:lvl1pPr>
          </a:lstStyle>
          <a:p>
            <a:r>
              <a:rPr lang="de-CH"/>
              <a:t>Portrait einfügen</a:t>
            </a:r>
          </a:p>
        </p:txBody>
      </p:sp>
      <p:sp>
        <p:nvSpPr>
          <p:cNvPr id="60" name="Textplatzhalter 5">
            <a:extLst>
              <a:ext uri="{FF2B5EF4-FFF2-40B4-BE49-F238E27FC236}">
                <a16:creationId xmlns:a16="http://schemas.microsoft.com/office/drawing/2014/main" id="{4E08E9AC-35ED-453A-9217-F6FC978AE9F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5894159" y="1824000"/>
            <a:ext cx="4318000" cy="960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7920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accent2"/>
                </a:solidFill>
                <a:latin typeface="+mj-lt"/>
              </a:defRPr>
            </a:lvl1pPr>
            <a:lvl2pPr marL="153596" indent="-153596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2pPr>
            <a:lvl3pPr marL="307192" indent="-153596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accent2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61" name="Bildplatzhalter 6">
            <a:extLst>
              <a:ext uri="{FF2B5EF4-FFF2-40B4-BE49-F238E27FC236}">
                <a16:creationId xmlns:a16="http://schemas.microsoft.com/office/drawing/2014/main" id="{080AC4A8-C651-49AE-A346-E3DE1B913F04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5894725" y="1824000"/>
            <a:ext cx="960000" cy="960000"/>
          </a:xfrm>
          <a:prstGeom prst="rect">
            <a:avLst/>
          </a:prstGeom>
          <a:noFill/>
          <a:ln w="12700">
            <a:noFill/>
          </a:ln>
        </p:spPr>
        <p:txBody>
          <a:bodyPr anchor="ctr" anchorCtr="0"/>
          <a:lstStyle>
            <a:lvl1pPr algn="ctr">
              <a:lnSpc>
                <a:spcPts val="2067"/>
              </a:lnSpc>
              <a:defRPr sz="1533" baseline="0">
                <a:latin typeface="+mj-lt"/>
              </a:defRPr>
            </a:lvl1pPr>
          </a:lstStyle>
          <a:p>
            <a:r>
              <a:rPr lang="de-CH"/>
              <a:t>Portrait einfüg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5E90315-7DFA-4CC0-894E-7B34320248A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894917" y="1210733"/>
            <a:ext cx="5681132" cy="613267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1533" baseline="0">
                <a:solidFill>
                  <a:schemeClr val="accent2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buNone/>
              <a:defRPr baseline="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90000"/>
              </a:lnSpc>
              <a:buNone/>
              <a:defRPr baseline="0">
                <a:solidFill>
                  <a:schemeClr val="accent2"/>
                </a:solidFill>
                <a:latin typeface="+mj-lt"/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baseline="0">
                <a:solidFill>
                  <a:schemeClr val="accent2"/>
                </a:solidFill>
                <a:latin typeface="+mj-lt"/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baseline="0">
                <a:solidFill>
                  <a:schemeClr val="accent2"/>
                </a:solidFill>
                <a:latin typeface="+mj-lt"/>
              </a:defRPr>
            </a:lvl5pPr>
          </a:lstStyle>
          <a:p>
            <a:pPr lvl="0"/>
            <a:r>
              <a:rPr lang="de-DE"/>
              <a:t>Optionaler Untertitel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43339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330">
          <p15:clr>
            <a:srgbClr val="A4A3A4"/>
          </p15:clr>
        </p15:guide>
        <p15:guide id="2" pos="2785">
          <p15:clr>
            <a:srgbClr val="A4A3A4"/>
          </p15:clr>
        </p15:guide>
        <p15:guide id="3" pos="4826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1600200" y="2386744"/>
            <a:ext cx="8991600" cy="1645920"/>
          </a:xfrm>
          <a:solidFill>
            <a:srgbClr val="FFFFFF"/>
          </a:solidFill>
          <a:ln w="38100">
            <a:solidFill>
              <a:srgbClr val="404040"/>
            </a:solidFill>
          </a:ln>
        </p:spPr>
        <p:txBody>
          <a:bodyPr lIns="274320" rIns="274320" anchor="ctr" anchorCtr="1">
            <a:normAutofit/>
          </a:bodyPr>
          <a:lstStyle>
            <a:lvl1pPr>
              <a:defRPr sz="3800">
                <a:solidFill>
                  <a:srgbClr val="262626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95194" y="4352465"/>
            <a:ext cx="6801612" cy="1265082"/>
          </a:xfrm>
        </p:spPr>
        <p:txBody>
          <a:bodyPr anchor="t" anchorCtr="1"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B4D32F-122F-4D69-BA2D-ED0AABEF3798}" type="datetimeFigureOut">
              <a:rPr lang="de-DE" smtClean="0"/>
              <a:t>11.05.2023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F35C4-A9C7-4A18-8B91-2212F20329C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143909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s,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hteck 25">
            <a:extLst>
              <a:ext uri="{FF2B5EF4-FFF2-40B4-BE49-F238E27FC236}">
                <a16:creationId xmlns:a16="http://schemas.microsoft.com/office/drawing/2014/main" id="{AD11B847-8844-4C12-8C92-2DA34B8DC8F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1F3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4BCFBD67-3D02-48A5-984D-6DB528074A32}"/>
              </a:ext>
            </a:extLst>
          </p:cNvPr>
          <p:cNvSpPr/>
          <p:nvPr userDrawn="1"/>
        </p:nvSpPr>
        <p:spPr>
          <a:xfrm>
            <a:off x="0" y="313267"/>
            <a:ext cx="12192000" cy="8974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F64FD658-D53C-4FD9-818B-E61E355097BA}"/>
              </a:ext>
            </a:extLst>
          </p:cNvPr>
          <p:cNvSpPr/>
          <p:nvPr userDrawn="1"/>
        </p:nvSpPr>
        <p:spPr>
          <a:xfrm>
            <a:off x="0" y="313267"/>
            <a:ext cx="124800" cy="8974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9747C7CC-B53B-4F90-9CFE-411FC28A31B7}"/>
              </a:ext>
            </a:extLst>
          </p:cNvPr>
          <p:cNvGrpSpPr/>
          <p:nvPr userDrawn="1"/>
        </p:nvGrpSpPr>
        <p:grpSpPr>
          <a:xfrm>
            <a:off x="10136049" y="559791"/>
            <a:ext cx="1440000" cy="404419"/>
            <a:chOff x="-5709525" y="-5645283"/>
            <a:chExt cx="19213689" cy="5396089"/>
          </a:xfrm>
        </p:grpSpPr>
        <p:pic>
          <p:nvPicPr>
            <p:cNvPr id="46" name="Grafik 45">
              <a:extLst>
                <a:ext uri="{FF2B5EF4-FFF2-40B4-BE49-F238E27FC236}">
                  <a16:creationId xmlns:a16="http://schemas.microsoft.com/office/drawing/2014/main" id="{22751ED6-7698-47E2-8C5C-6E0B7DC7305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5709525" y="-5645283"/>
              <a:ext cx="19213689" cy="5396089"/>
            </a:xfrm>
            <a:prstGeom prst="rect">
              <a:avLst/>
            </a:prstGeom>
          </p:spPr>
        </p:pic>
        <p:sp>
          <p:nvSpPr>
            <p:cNvPr id="47" name="Freeform 26">
              <a:extLst>
                <a:ext uri="{FF2B5EF4-FFF2-40B4-BE49-F238E27FC236}">
                  <a16:creationId xmlns:a16="http://schemas.microsoft.com/office/drawing/2014/main" id="{E1543908-5773-4844-8AC5-B0A248C2DF6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709525" y="-5645283"/>
              <a:ext cx="1287463" cy="1493837"/>
            </a:xfrm>
            <a:custGeom>
              <a:avLst/>
              <a:gdLst>
                <a:gd name="T0" fmla="*/ 86 w 114"/>
                <a:gd name="T1" fmla="*/ 0 h 132"/>
                <a:gd name="T2" fmla="*/ 1 w 114"/>
                <a:gd name="T3" fmla="*/ 20 h 132"/>
                <a:gd name="T4" fmla="*/ 0 w 114"/>
                <a:gd name="T5" fmla="*/ 31 h 132"/>
                <a:gd name="T6" fmla="*/ 31 w 114"/>
                <a:gd name="T7" fmla="*/ 132 h 132"/>
                <a:gd name="T8" fmla="*/ 114 w 114"/>
                <a:gd name="T9" fmla="*/ 115 h 132"/>
                <a:gd name="T10" fmla="*/ 114 w 114"/>
                <a:gd name="T11" fmla="*/ 106 h 132"/>
                <a:gd name="T12" fmla="*/ 94 w 114"/>
                <a:gd name="T13" fmla="*/ 0 h 132"/>
                <a:gd name="T14" fmla="*/ 86 w 114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32">
                  <a:moveTo>
                    <a:pt x="86" y="0"/>
                  </a:moveTo>
                  <a:cubicBezTo>
                    <a:pt x="52" y="0"/>
                    <a:pt x="25" y="8"/>
                    <a:pt x="1" y="20"/>
                  </a:cubicBezTo>
                  <a:cubicBezTo>
                    <a:pt x="1" y="23"/>
                    <a:pt x="0" y="25"/>
                    <a:pt x="0" y="31"/>
                  </a:cubicBezTo>
                  <a:cubicBezTo>
                    <a:pt x="0" y="56"/>
                    <a:pt x="18" y="102"/>
                    <a:pt x="31" y="132"/>
                  </a:cubicBezTo>
                  <a:cubicBezTo>
                    <a:pt x="56" y="132"/>
                    <a:pt x="92" y="125"/>
                    <a:pt x="114" y="115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81"/>
                    <a:pt x="113" y="24"/>
                    <a:pt x="94" y="0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sz="240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80CCCC74-FE85-4957-B2EF-526A07E873C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3833" y="1824000"/>
            <a:ext cx="4318000" cy="960000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txBody>
          <a:bodyPr lIns="2304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bg1"/>
                </a:solidFill>
                <a:latin typeface="+mj-lt"/>
              </a:defRPr>
            </a:lvl1pPr>
            <a:lvl2pPr marL="153596" indent="-153596">
              <a:lnSpc>
                <a:spcPct val="90000"/>
              </a:lnSpc>
              <a:defRPr sz="1533" cap="none" baseline="0">
                <a:solidFill>
                  <a:schemeClr val="bg1"/>
                </a:solidFill>
                <a:latin typeface="+mn-lt"/>
              </a:defRPr>
            </a:lvl2pPr>
            <a:lvl3pPr marL="307192" indent="-153596">
              <a:lnSpc>
                <a:spcPct val="90000"/>
              </a:lnSpc>
              <a:defRPr sz="1533" cap="none" baseline="0">
                <a:solidFill>
                  <a:schemeClr val="bg1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bg1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C5DEF3B4-5092-4A72-964F-20FB37092A93}"/>
              </a:ext>
            </a:extLst>
          </p:cNvPr>
          <p:cNvSpPr txBox="1"/>
          <p:nvPr userDrawn="1"/>
        </p:nvSpPr>
        <p:spPr>
          <a:xfrm>
            <a:off x="-3840000" y="1824568"/>
            <a:ext cx="3360000" cy="668435"/>
          </a:xfrm>
          <a:prstGeom prst="rect">
            <a:avLst/>
          </a:prstGeom>
          <a:solidFill>
            <a:schemeClr val="accent2"/>
          </a:solidFill>
        </p:spPr>
        <p:txBody>
          <a:bodyPr wrap="square" lIns="144000" tIns="72000" rIns="144000" bIns="72000" rtlCol="0">
            <a:spAutoFit/>
          </a:bodyPr>
          <a:lstStyle/>
          <a:p>
            <a:r>
              <a:rPr lang="de-DE" sz="1133" b="0" kern="600">
                <a:solidFill>
                  <a:schemeClr val="bg1"/>
                </a:solidFill>
                <a:latin typeface="+mj-lt"/>
              </a:rPr>
              <a:t>Enthaltene Textebenen:</a:t>
            </a:r>
          </a:p>
          <a:p>
            <a:r>
              <a:rPr lang="de-DE" sz="1133" b="0" kern="600">
                <a:solidFill>
                  <a:schemeClr val="bg1"/>
                </a:solidFill>
                <a:latin typeface="+mn-lt"/>
              </a:rPr>
              <a:t>Ebene</a:t>
            </a: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 1 = Vorname Name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2 = Funktion</a:t>
            </a:r>
            <a:endParaRPr lang="de-DE" sz="1133" b="0" kern="600" baseline="0">
              <a:solidFill>
                <a:schemeClr val="bg1"/>
              </a:solidFill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89D44E5-7746-44E2-98AB-1ACF191DA1AC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endParaRPr lang="de-CH" kern="60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91E25F4-1829-4FED-9ED5-1D42204799FA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5B84BE2A-AF72-474C-A580-796179F45542}" type="slidenum">
              <a:rPr lang="de-CH" smtClean="0"/>
              <a:pPr/>
              <a:t>‹Nr.›</a:t>
            </a:fld>
            <a:endParaRPr lang="de-CH" kern="600"/>
          </a:p>
        </p:txBody>
      </p:sp>
      <p:sp>
        <p:nvSpPr>
          <p:cNvPr id="48" name="Textplatzhalter 5">
            <a:extLst>
              <a:ext uri="{FF2B5EF4-FFF2-40B4-BE49-F238E27FC236}">
                <a16:creationId xmlns:a16="http://schemas.microsoft.com/office/drawing/2014/main" id="{30328B5B-E595-4CAD-96DF-5F2FC138B53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13833" y="2976684"/>
            <a:ext cx="4318000" cy="960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2304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accent2"/>
                </a:solidFill>
                <a:latin typeface="+mj-lt"/>
              </a:defRPr>
            </a:lvl1pPr>
            <a:lvl2pPr marL="153596" indent="-153596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2pPr>
            <a:lvl3pPr marL="307192" indent="-153596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accent2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50" name="Textplatzhalter 5">
            <a:extLst>
              <a:ext uri="{FF2B5EF4-FFF2-40B4-BE49-F238E27FC236}">
                <a16:creationId xmlns:a16="http://schemas.microsoft.com/office/drawing/2014/main" id="{C25E0A5C-6EB3-442B-A2E0-BF4839264BBB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13833" y="4129368"/>
            <a:ext cx="4318000" cy="960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2304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accent2"/>
                </a:solidFill>
                <a:latin typeface="+mj-lt"/>
              </a:defRPr>
            </a:lvl1pPr>
            <a:lvl2pPr marL="153596" indent="-153596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2pPr>
            <a:lvl3pPr marL="307192" indent="-153596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accent2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52" name="Textplatzhalter 5">
            <a:extLst>
              <a:ext uri="{FF2B5EF4-FFF2-40B4-BE49-F238E27FC236}">
                <a16:creationId xmlns:a16="http://schemas.microsoft.com/office/drawing/2014/main" id="{0634A702-9D0D-4D93-B5BB-D27A42538F9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13833" y="5282051"/>
            <a:ext cx="4318000" cy="960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2304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accent2"/>
                </a:solidFill>
                <a:latin typeface="+mj-lt"/>
              </a:defRPr>
            </a:lvl1pPr>
            <a:lvl2pPr marL="153596" indent="-153596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2pPr>
            <a:lvl3pPr marL="307192" indent="-153596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accent2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54" name="Textplatzhalter 5">
            <a:extLst>
              <a:ext uri="{FF2B5EF4-FFF2-40B4-BE49-F238E27FC236}">
                <a16:creationId xmlns:a16="http://schemas.microsoft.com/office/drawing/2014/main" id="{B2906D4C-FC61-4B68-A35B-686FD270002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894917" y="2976684"/>
            <a:ext cx="4318000" cy="960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2304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accent2"/>
                </a:solidFill>
                <a:latin typeface="+mj-lt"/>
              </a:defRPr>
            </a:lvl1pPr>
            <a:lvl2pPr marL="153596" indent="-153596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2pPr>
            <a:lvl3pPr marL="307192" indent="-153596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accent2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56" name="Textplatzhalter 5">
            <a:extLst>
              <a:ext uri="{FF2B5EF4-FFF2-40B4-BE49-F238E27FC236}">
                <a16:creationId xmlns:a16="http://schemas.microsoft.com/office/drawing/2014/main" id="{8BBC604C-E562-4E97-AF41-EFCAA8152FD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894917" y="4129368"/>
            <a:ext cx="4318000" cy="960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2304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accent2"/>
                </a:solidFill>
                <a:latin typeface="+mj-lt"/>
              </a:defRPr>
            </a:lvl1pPr>
            <a:lvl2pPr marL="153596" indent="-153596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2pPr>
            <a:lvl3pPr marL="307192" indent="-153596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accent2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58" name="Textplatzhalter 5">
            <a:extLst>
              <a:ext uri="{FF2B5EF4-FFF2-40B4-BE49-F238E27FC236}">
                <a16:creationId xmlns:a16="http://schemas.microsoft.com/office/drawing/2014/main" id="{C7AFFCF3-31D5-47C2-8DCD-DE6AD9D13FC7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894917" y="5282051"/>
            <a:ext cx="4318000" cy="960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2304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accent2"/>
                </a:solidFill>
                <a:latin typeface="+mj-lt"/>
              </a:defRPr>
            </a:lvl1pPr>
            <a:lvl2pPr marL="153596" indent="-153596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2pPr>
            <a:lvl3pPr marL="307192" indent="-153596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accent2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60" name="Textplatzhalter 5">
            <a:extLst>
              <a:ext uri="{FF2B5EF4-FFF2-40B4-BE49-F238E27FC236}">
                <a16:creationId xmlns:a16="http://schemas.microsoft.com/office/drawing/2014/main" id="{4E08E9AC-35ED-453A-9217-F6FC978AE9F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5894159" y="1824000"/>
            <a:ext cx="4318000" cy="960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2304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accent2"/>
                </a:solidFill>
                <a:latin typeface="+mj-lt"/>
              </a:defRPr>
            </a:lvl1pPr>
            <a:lvl2pPr marL="153596" indent="-153596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2pPr>
            <a:lvl3pPr marL="307192" indent="-153596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accent2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5E90315-7DFA-4CC0-894E-7B34320248A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894917" y="1210733"/>
            <a:ext cx="5681132" cy="613267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1533" baseline="0">
                <a:solidFill>
                  <a:schemeClr val="accent2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buNone/>
              <a:defRPr baseline="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90000"/>
              </a:lnSpc>
              <a:buNone/>
              <a:defRPr baseline="0">
                <a:solidFill>
                  <a:schemeClr val="accent2"/>
                </a:solidFill>
                <a:latin typeface="+mj-lt"/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baseline="0">
                <a:solidFill>
                  <a:schemeClr val="accent2"/>
                </a:solidFill>
                <a:latin typeface="+mj-lt"/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baseline="0">
                <a:solidFill>
                  <a:schemeClr val="accent2"/>
                </a:solidFill>
                <a:latin typeface="+mj-lt"/>
              </a:defRPr>
            </a:lvl5pPr>
          </a:lstStyle>
          <a:p>
            <a:pPr lvl="0"/>
            <a:r>
              <a:rPr lang="de-DE"/>
              <a:t>Optionaler Untertitel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673099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330">
          <p15:clr>
            <a:srgbClr val="A4A3A4"/>
          </p15:clr>
        </p15:guide>
        <p15:guide id="2" pos="2785">
          <p15:clr>
            <a:srgbClr val="A4A3A4"/>
          </p15:clr>
        </p15:guide>
        <p15:guide id="3" pos="4826">
          <p15:clr>
            <a:srgbClr val="A4A3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ire area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E509C97-52CE-4BC8-84C1-1EA75420A78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4400" y="7377600"/>
            <a:ext cx="1440000" cy="240000"/>
          </a:xfrm>
        </p:spPr>
        <p:txBody>
          <a:bodyPr/>
          <a:lstStyle/>
          <a:p>
            <a:fld id="{9D5882E6-5A22-4870-8A11-3A4CBC7E8CC8}" type="datetime1">
              <a:rPr lang="de-DE" kern="600" smtClean="0"/>
              <a:t>11.05.2023</a:t>
            </a:fld>
            <a:endParaRPr lang="de-CH" kern="60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56AE9BF-81C3-48FC-A276-BE1C691452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54400" y="7377600"/>
            <a:ext cx="8083200" cy="240000"/>
          </a:xfrm>
        </p:spPr>
        <p:txBody>
          <a:bodyPr/>
          <a:lstStyle/>
          <a:p>
            <a:endParaRPr lang="de-CH" kern="60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57EBFA1-7E9E-42B3-920C-311E998B0B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136050" y="7377600"/>
            <a:ext cx="1440001" cy="240000"/>
          </a:xfrm>
        </p:spPr>
        <p:txBody>
          <a:bodyPr/>
          <a:lstStyle/>
          <a:p>
            <a:fld id="{5B84BE2A-AF72-474C-A580-796179F45542}" type="slidenum">
              <a:rPr lang="de-CH" smtClean="0"/>
              <a:pPr/>
              <a:t>‹Nr.›</a:t>
            </a:fld>
            <a:endParaRPr lang="de-CH" kern="60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6F6B802-D23F-4D03-B8B1-7F19BA4D2F1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5405C008-F7C1-449C-BAD7-4607EDB1FD8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" y="0"/>
            <a:ext cx="12191999" cy="6858000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578353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eingeb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13833" y="1588800"/>
            <a:ext cx="10962217" cy="4648451"/>
          </a:xfrm>
        </p:spPr>
        <p:txBody>
          <a:bodyPr/>
          <a:lstStyle>
            <a:lvl1pPr marL="431989" indent="-431989" defTabSz="307192">
              <a:spcBef>
                <a:spcPts val="733"/>
              </a:spcBef>
              <a:buSzPct val="110000"/>
              <a:buFont typeface="Source Sans Pro SemiBold" panose="020B0603030403020204" pitchFamily="34" charset="0"/>
              <a:buChar char="›"/>
              <a:defRPr sz="3467"/>
            </a:lvl1pPr>
            <a:lvl2pPr marL="815980" indent="-383990" defTabSz="307192">
              <a:spcBef>
                <a:spcPts val="600"/>
              </a:spcBef>
              <a:buSzPct val="110000"/>
              <a:buFont typeface="Source Sans Pro SemiBold" panose="020B0603030403020204" pitchFamily="34" charset="0"/>
              <a:buChar char="›"/>
              <a:defRPr sz="2933"/>
            </a:lvl2pPr>
            <a:lvl3pPr marL="1123172" indent="-307192" defTabSz="307192">
              <a:spcBef>
                <a:spcPts val="600"/>
              </a:spcBef>
              <a:buSzPct val="110000"/>
              <a:buFont typeface="Source Sans Pro SemiBold" panose="020B0603030403020204" pitchFamily="34" charset="0"/>
              <a:buChar char="›"/>
              <a:defRPr/>
            </a:lvl3pPr>
            <a:lvl4pPr marL="1387165" indent="-263993" defTabSz="307192">
              <a:spcBef>
                <a:spcPts val="600"/>
              </a:spcBef>
              <a:buSzPct val="110000"/>
              <a:buFont typeface="Source Sans Pro SemiBold" panose="020B0603030403020204" pitchFamily="34" charset="0"/>
              <a:buChar char="›"/>
              <a:defRPr sz="2000"/>
            </a:lvl4pPr>
            <a:lvl5pPr marL="1651159" indent="-263993" defTabSz="307192">
              <a:spcBef>
                <a:spcPts val="600"/>
              </a:spcBef>
              <a:buSzPct val="110000"/>
              <a:buFont typeface="Source Sans Pro SemiBold" panose="020B0603030403020204" pitchFamily="34" charset="0"/>
              <a:buChar char="›"/>
              <a:defRPr sz="2000"/>
            </a:lvl5pPr>
            <a:lvl6pPr marL="0" indent="0">
              <a:lnSpc>
                <a:spcPct val="107000"/>
              </a:lnSpc>
              <a:spcBef>
                <a:spcPts val="1467"/>
              </a:spcBef>
              <a:buNone/>
              <a:defRPr sz="3467" kern="600" baseline="0">
                <a:latin typeface="+mj-lt"/>
              </a:defRPr>
            </a:lvl6pPr>
            <a:lvl7pPr marL="0" indent="0">
              <a:lnSpc>
                <a:spcPct val="107000"/>
              </a:lnSpc>
              <a:spcBef>
                <a:spcPts val="0"/>
              </a:spcBef>
              <a:buNone/>
              <a:defRPr sz="1333" kern="600" baseline="0"/>
            </a:lvl7pPr>
            <a:lvl8pPr marL="0" indent="0">
              <a:lnSpc>
                <a:spcPct val="107000"/>
              </a:lnSpc>
              <a:spcBef>
                <a:spcPts val="0"/>
              </a:spcBef>
              <a:buNone/>
              <a:defRPr sz="1333" kern="600" baseline="0"/>
            </a:lvl8pPr>
            <a:lvl9pPr marL="0" indent="0">
              <a:lnSpc>
                <a:spcPct val="107000"/>
              </a:lnSpc>
              <a:spcBef>
                <a:spcPts val="0"/>
              </a:spcBef>
              <a:buNone/>
              <a:defRPr sz="1333" kern="600" baseline="0"/>
            </a:lvl9pPr>
          </a:lstStyle>
          <a:p>
            <a:pPr lvl="0"/>
            <a:r>
              <a:rPr lang="de-DE"/>
              <a:t>Auflistung eingeben. Beachten Sie die weiteren Ebenen.</a:t>
            </a:r>
          </a:p>
          <a:p>
            <a:pPr lvl="1"/>
            <a:r>
              <a:rPr lang="de-DE"/>
              <a:t>Auflistung 2</a:t>
            </a:r>
          </a:p>
          <a:p>
            <a:pPr lvl="2"/>
            <a:r>
              <a:rPr lang="de-DE"/>
              <a:t>Auflistung 3</a:t>
            </a:r>
          </a:p>
          <a:p>
            <a:pPr lvl="3"/>
            <a:r>
              <a:rPr lang="de-DE"/>
              <a:t>Auflistung 4</a:t>
            </a:r>
          </a:p>
          <a:p>
            <a:pPr lvl="4"/>
            <a:r>
              <a:rPr lang="de-DE"/>
              <a:t>Auflistung 5</a:t>
            </a:r>
          </a:p>
          <a:p>
            <a:pPr lvl="5"/>
            <a:r>
              <a:rPr lang="de-DE"/>
              <a:t>Untertitel</a:t>
            </a:r>
          </a:p>
          <a:p>
            <a:pPr lvl="6"/>
            <a:r>
              <a:rPr lang="de-DE"/>
              <a:t>Legende</a:t>
            </a:r>
          </a:p>
          <a:p>
            <a:pPr lvl="7"/>
            <a:r>
              <a:rPr lang="de-DE"/>
              <a:t>Leer 8</a:t>
            </a:r>
          </a:p>
          <a:p>
            <a:pPr lvl="8"/>
            <a:r>
              <a:rPr lang="de-DE"/>
              <a:t>Leer 9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13833" y="6417600"/>
            <a:ext cx="9523200" cy="240000"/>
          </a:xfrm>
        </p:spPr>
        <p:txBody>
          <a:bodyPr/>
          <a:lstStyle>
            <a:lvl1pPr algn="l">
              <a:defRPr/>
            </a:lvl1pPr>
          </a:lstStyle>
          <a:p>
            <a:endParaRPr lang="de-CH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5B4D4E7F-F213-44BF-8BFB-3B98D17FDD0B}"/>
              </a:ext>
            </a:extLst>
          </p:cNvPr>
          <p:cNvGrpSpPr/>
          <p:nvPr userDrawn="1"/>
        </p:nvGrpSpPr>
        <p:grpSpPr>
          <a:xfrm>
            <a:off x="12672000" y="1722967"/>
            <a:ext cx="3840000" cy="3247222"/>
            <a:chOff x="9144000" y="1419149"/>
            <a:chExt cx="2880000" cy="2435416"/>
          </a:xfrm>
          <a:solidFill>
            <a:schemeClr val="accent2"/>
          </a:solidFill>
        </p:grpSpPr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21AE6EB8-90B9-48D9-A023-B49A4BEBF5F1}"/>
                </a:ext>
              </a:extLst>
            </p:cNvPr>
            <p:cNvSpPr txBox="1"/>
            <p:nvPr userDrawn="1"/>
          </p:nvSpPr>
          <p:spPr>
            <a:xfrm flipH="1">
              <a:off x="9144000" y="1419149"/>
              <a:ext cx="2880000" cy="2435416"/>
            </a:xfrm>
            <a:prstGeom prst="homePlate">
              <a:avLst>
                <a:gd name="adj" fmla="val 11497"/>
              </a:avLst>
            </a:prstGeom>
            <a:solidFill>
              <a:schemeClr val="accent2"/>
            </a:solidFill>
          </p:spPr>
          <p:txBody>
            <a:bodyPr wrap="square" lIns="270000" tIns="54000" rIns="108000" bIns="54000" rtlCol="0">
              <a:spAutoFit/>
            </a:bodyPr>
            <a:lstStyle/>
            <a:p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Texte richtig formatieren:</a:t>
              </a:r>
            </a:p>
            <a:p>
              <a:r>
                <a:rPr lang="de-DE" sz="1133" b="0" kern="600">
                  <a:solidFill>
                    <a:schemeClr val="bg1"/>
                  </a:solidFill>
                  <a:latin typeface="+mn-lt"/>
                </a:rPr>
                <a:t>Texte werden über die »Textebenen« richtig formatiert. Setzen Sie den Cursor in den gewünschten Absatz und wechseln Sie unter »Start -&gt; Absatz« eine Ebene weiter bzw. zurück.</a:t>
              </a:r>
              <a:br>
                <a:rPr lang="de-DE" sz="1133" b="0" kern="600">
                  <a:solidFill>
                    <a:schemeClr val="bg1"/>
                  </a:solidFill>
                  <a:latin typeface="+mn-lt"/>
                </a:rPr>
              </a:br>
              <a:br>
                <a:rPr lang="de-DE" sz="1133" b="0" kern="600">
                  <a:solidFill>
                    <a:schemeClr val="bg1"/>
                  </a:solidFill>
                  <a:latin typeface="+mn-lt"/>
                </a:rPr>
              </a:br>
              <a:br>
                <a:rPr lang="de-DE" sz="1133" b="0" kern="600">
                  <a:solidFill>
                    <a:schemeClr val="bg1"/>
                  </a:solidFill>
                  <a:latin typeface="+mn-lt"/>
                </a:rPr>
              </a:br>
              <a:br>
                <a:rPr lang="de-DE" sz="1133" b="0" kern="600">
                  <a:solidFill>
                    <a:schemeClr val="bg1"/>
                  </a:solidFill>
                  <a:latin typeface="+mn-lt"/>
                </a:rPr>
              </a:br>
              <a:br>
                <a:rPr lang="de-DE" sz="1133" b="0" kern="600">
                  <a:solidFill>
                    <a:schemeClr val="bg1"/>
                  </a:solidFill>
                  <a:latin typeface="+mn-lt"/>
                </a:rPr>
              </a:br>
              <a:endParaRPr lang="de-DE" sz="1133" b="0" kern="600">
                <a:solidFill>
                  <a:schemeClr val="bg1"/>
                </a:solidFill>
                <a:latin typeface="+mn-lt"/>
              </a:endParaRPr>
            </a:p>
            <a:p>
              <a:endParaRPr lang="de-DE" sz="1133" b="0" kern="600">
                <a:solidFill>
                  <a:schemeClr val="bg1"/>
                </a:solidFill>
                <a:latin typeface="+mn-lt"/>
              </a:endParaRPr>
            </a:p>
            <a:p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Diese Vorgehensweise gilt für</a:t>
              </a:r>
              <a:r>
                <a:rPr lang="de-DE" sz="1133" b="0" kern="600" baseline="0">
                  <a:solidFill>
                    <a:schemeClr val="bg1"/>
                  </a:solidFill>
                  <a:latin typeface="+mj-lt"/>
                </a:rPr>
                <a:t> sämtliche enthaltenen Layoutmaster</a:t>
              </a:r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.</a:t>
              </a:r>
            </a:p>
            <a:p>
              <a:endParaRPr lang="de-DE" sz="1133" b="0" kern="600">
                <a:solidFill>
                  <a:schemeClr val="bg1"/>
                </a:solidFill>
                <a:latin typeface="+mj-lt"/>
              </a:endParaRPr>
            </a:p>
            <a:p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Hier enthalten:</a:t>
              </a:r>
            </a:p>
            <a:p>
              <a:r>
                <a:rPr lang="de-DE" sz="1133" b="0" kern="600">
                  <a:solidFill>
                    <a:schemeClr val="bg1"/>
                  </a:solidFill>
                  <a:latin typeface="+mn-lt"/>
                </a:rPr>
                <a:t>Ebenen</a:t>
              </a:r>
              <a:r>
                <a:rPr lang="de-DE" sz="1133" b="0" kern="600" baseline="0">
                  <a:solidFill>
                    <a:schemeClr val="bg1"/>
                  </a:solidFill>
                  <a:latin typeface="+mn-lt"/>
                </a:rPr>
                <a:t> 1 bis 5 = Auflistungs-Ebenen</a:t>
              </a:r>
            </a:p>
            <a:p>
              <a:r>
                <a:rPr lang="de-DE" sz="1133" b="0" kern="600" baseline="0">
                  <a:solidFill>
                    <a:schemeClr val="bg1"/>
                  </a:solidFill>
                  <a:latin typeface="+mn-lt"/>
                </a:rPr>
                <a:t>Ebene 6 = Untertitel mit Abstand</a:t>
              </a:r>
            </a:p>
            <a:p>
              <a:r>
                <a:rPr lang="de-DE" sz="1133" b="0" kern="600" baseline="0">
                  <a:solidFill>
                    <a:schemeClr val="bg1"/>
                  </a:solidFill>
                  <a:latin typeface="+mn-lt"/>
                </a:rPr>
                <a:t>Ebene 7 = Kleiner Text (Legenden)</a:t>
              </a:r>
              <a:endParaRPr lang="de-CH" sz="1133" b="0" kern="600">
                <a:solidFill>
                  <a:schemeClr val="bg1"/>
                </a:solidFill>
                <a:latin typeface="+mn-lt"/>
              </a:endParaRPr>
            </a:p>
          </p:txBody>
        </p:sp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ED1A6524-017D-42FA-A04E-3F12122C255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81387" y="2169871"/>
              <a:ext cx="2179002" cy="630957"/>
            </a:xfrm>
            <a:prstGeom prst="rect">
              <a:avLst/>
            </a:prstGeom>
            <a:grpFill/>
          </p:spPr>
        </p:pic>
      </p:grpSp>
    </p:spTree>
    <p:extLst>
      <p:ext uri="{BB962C8B-B14F-4D97-AF65-F5344CB8AC3E}">
        <p14:creationId xmlns:p14="http://schemas.microsoft.com/office/powerpoint/2010/main" val="293039743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background pic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feld 8">
            <a:extLst>
              <a:ext uri="{FF2B5EF4-FFF2-40B4-BE49-F238E27FC236}">
                <a16:creationId xmlns:a16="http://schemas.microsoft.com/office/drawing/2014/main" id="{BDD4B0C4-223B-4128-8AFD-255C9200A252}"/>
              </a:ext>
            </a:extLst>
          </p:cNvPr>
          <p:cNvSpPr txBox="1"/>
          <p:nvPr userDrawn="1"/>
        </p:nvSpPr>
        <p:spPr>
          <a:xfrm flipH="1">
            <a:off x="1119717" y="7334400"/>
            <a:ext cx="3147483" cy="668435"/>
          </a:xfrm>
          <a:prstGeom prst="rect">
            <a:avLst/>
          </a:prstGeom>
          <a:solidFill>
            <a:schemeClr val="accent4"/>
          </a:solidFill>
        </p:spPr>
        <p:txBody>
          <a:bodyPr wrap="square" lIns="144000" tIns="72000" rIns="144000" bIns="72000" rtlCol="0" anchor="t" anchorCtr="0">
            <a:spAutoFit/>
          </a:bodyPr>
          <a:lstStyle/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Das Datum aktualisiert sich automatisch. </a:t>
            </a:r>
            <a:br>
              <a:rPr lang="de-DE" sz="1133" b="0" kern="600" baseline="0">
                <a:solidFill>
                  <a:schemeClr val="bg1"/>
                </a:solidFill>
                <a:latin typeface="+mn-lt"/>
              </a:rPr>
            </a:br>
            <a:r>
              <a:rPr lang="de-CH" sz="1133" b="0" kern="600" baseline="0">
                <a:solidFill>
                  <a:schemeClr val="bg1"/>
                </a:solidFill>
                <a:latin typeface="+mn-lt"/>
              </a:rPr>
              <a:t>Über »Einfügen -&gt; Kopf- und Fußzeile« </a:t>
            </a:r>
            <a:br>
              <a:rPr lang="de-CH" sz="1133" b="0" kern="600" baseline="0">
                <a:solidFill>
                  <a:schemeClr val="bg1"/>
                </a:solidFill>
                <a:latin typeface="+mn-lt"/>
              </a:rPr>
            </a:br>
            <a:r>
              <a:rPr lang="de-CH" sz="1133" b="0" kern="600" baseline="0">
                <a:solidFill>
                  <a:schemeClr val="bg1"/>
                </a:solidFill>
                <a:latin typeface="+mn-lt"/>
              </a:rPr>
              <a:t>können Sie dies ändern.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F16F10C-6866-42D0-AAA5-EFF70DADD537}"/>
              </a:ext>
            </a:extLst>
          </p:cNvPr>
          <p:cNvSpPr txBox="1"/>
          <p:nvPr userDrawn="1"/>
        </p:nvSpPr>
        <p:spPr>
          <a:xfrm flipH="1">
            <a:off x="-3840000" y="0"/>
            <a:ext cx="3360000" cy="319749"/>
          </a:xfrm>
          <a:prstGeom prst="rect">
            <a:avLst/>
          </a:prstGeom>
          <a:solidFill>
            <a:schemeClr val="accent6"/>
          </a:solidFill>
        </p:spPr>
        <p:txBody>
          <a:bodyPr wrap="square" lIns="144000" tIns="72000" rIns="144000" bIns="72000" rtlCol="0" anchor="t" anchorCtr="0">
            <a:spAutoFit/>
          </a:bodyPr>
          <a:lstStyle/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Präsentationsformat: 16:9</a:t>
            </a:r>
            <a:endParaRPr lang="de-CH" sz="1133" b="0" kern="600" baseline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9092F150-BB95-4881-B293-C29394BF517C}"/>
              </a:ext>
            </a:extLst>
          </p:cNvPr>
          <p:cNvSpPr txBox="1"/>
          <p:nvPr userDrawn="1"/>
        </p:nvSpPr>
        <p:spPr>
          <a:xfrm>
            <a:off x="-7248000" y="322128"/>
            <a:ext cx="3360000" cy="4671123"/>
          </a:xfrm>
          <a:prstGeom prst="rect">
            <a:avLst/>
          </a:prstGeom>
          <a:solidFill>
            <a:schemeClr val="accent2"/>
          </a:solidFill>
        </p:spPr>
        <p:txBody>
          <a:bodyPr wrap="square" lIns="144000" tIns="72000" rIns="144000" bIns="72000" rtlCol="0">
            <a:noAutofit/>
          </a:bodyPr>
          <a:lstStyle/>
          <a:p>
            <a:r>
              <a:rPr lang="de-DE" sz="1133" b="0" kern="600">
                <a:solidFill>
                  <a:schemeClr val="bg1"/>
                </a:solidFill>
                <a:latin typeface="+mj-lt"/>
              </a:rPr>
              <a:t>Layout ändern / Neue Folie erstellen:</a:t>
            </a:r>
          </a:p>
          <a:p>
            <a:r>
              <a:rPr lang="de-DE" sz="1133" b="0" kern="600">
                <a:solidFill>
                  <a:schemeClr val="bg1"/>
                </a:solidFill>
                <a:latin typeface="+mn-lt"/>
              </a:rPr>
              <a:t>Klicken Sie unter »Start -&gt; Folien«</a:t>
            </a: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1133" b="0" kern="600">
                <a:solidFill>
                  <a:schemeClr val="bg1"/>
                </a:solidFill>
                <a:latin typeface="+mn-lt"/>
              </a:rPr>
              <a:t>auf »Layout« (oder</a:t>
            </a: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 auf »</a:t>
            </a:r>
            <a:r>
              <a:rPr lang="de-DE" sz="1133" b="0" kern="600">
                <a:solidFill>
                  <a:schemeClr val="bg1"/>
                </a:solidFill>
                <a:latin typeface="+mn-lt"/>
              </a:rPr>
              <a:t>Neue Folie«) und wählen Sie das gewünschte Layout. Alternativ kopieren Sie eine fertige Folie und bearbeiten diese.</a:t>
            </a:r>
          </a:p>
          <a:p>
            <a:endParaRPr lang="de-DE" sz="1133" b="0" kern="600">
              <a:solidFill>
                <a:schemeClr val="bg1"/>
              </a:solidFill>
              <a:latin typeface="+mn-lt"/>
            </a:endParaRPr>
          </a:p>
          <a:p>
            <a:endParaRPr lang="de-DE" sz="1133" b="0" kern="600">
              <a:solidFill>
                <a:schemeClr val="bg1"/>
              </a:solidFill>
              <a:latin typeface="+mn-lt"/>
            </a:endParaRPr>
          </a:p>
          <a:p>
            <a:endParaRPr lang="de-DE" sz="1133" b="0" kern="600">
              <a:solidFill>
                <a:schemeClr val="bg1"/>
              </a:solidFill>
              <a:latin typeface="+mn-lt"/>
            </a:endParaRPr>
          </a:p>
          <a:p>
            <a:endParaRPr lang="de-DE" sz="1133" b="0" kern="600">
              <a:solidFill>
                <a:schemeClr val="bg1"/>
              </a:solidFill>
              <a:latin typeface="+mn-lt"/>
            </a:endParaRPr>
          </a:p>
          <a:p>
            <a:endParaRPr lang="de-DE" sz="1133" b="0" kern="600">
              <a:solidFill>
                <a:schemeClr val="bg1"/>
              </a:solidFill>
              <a:latin typeface="+mn-lt"/>
            </a:endParaRPr>
          </a:p>
          <a:p>
            <a:endParaRPr lang="de-DE" sz="1133" b="0" kern="600">
              <a:solidFill>
                <a:schemeClr val="bg1"/>
              </a:solidFill>
              <a:latin typeface="+mn-lt"/>
            </a:endParaRPr>
          </a:p>
          <a:p>
            <a:endParaRPr lang="de-DE" sz="1133" b="0" kern="600">
              <a:solidFill>
                <a:schemeClr val="bg1"/>
              </a:solidFill>
              <a:latin typeface="+mn-lt"/>
            </a:endParaRPr>
          </a:p>
          <a:p>
            <a:endParaRPr lang="de-DE" sz="1133" b="0" kern="600">
              <a:solidFill>
                <a:schemeClr val="bg1"/>
              </a:solidFill>
              <a:latin typeface="+mn-lt"/>
            </a:endParaRPr>
          </a:p>
          <a:p>
            <a:endParaRPr lang="de-DE" sz="1133" b="0" kern="600">
              <a:solidFill>
                <a:schemeClr val="bg1"/>
              </a:solidFill>
              <a:latin typeface="+mn-lt"/>
            </a:endParaRPr>
          </a:p>
          <a:p>
            <a:endParaRPr lang="de-DE" sz="1133" b="0" kern="600">
              <a:solidFill>
                <a:schemeClr val="bg1"/>
              </a:solidFill>
              <a:latin typeface="+mn-lt"/>
            </a:endParaRPr>
          </a:p>
          <a:p>
            <a:endParaRPr lang="de-DE" sz="1133" b="0" kern="600">
              <a:solidFill>
                <a:schemeClr val="bg1"/>
              </a:solidFill>
              <a:latin typeface="+mn-lt"/>
            </a:endParaRPr>
          </a:p>
          <a:p>
            <a:endParaRPr lang="de-DE" sz="1133" b="0" kern="600">
              <a:solidFill>
                <a:schemeClr val="bg1"/>
              </a:solidFill>
              <a:latin typeface="+mn-lt"/>
            </a:endParaRPr>
          </a:p>
          <a:p>
            <a:endParaRPr lang="de-DE" sz="1133" b="0" kern="600">
              <a:solidFill>
                <a:schemeClr val="bg1"/>
              </a:solidFill>
              <a:latin typeface="+mn-lt"/>
            </a:endParaRPr>
          </a:p>
          <a:p>
            <a:endParaRPr lang="de-DE" sz="1133" b="0" kern="600">
              <a:solidFill>
                <a:schemeClr val="bg1"/>
              </a:solidFill>
              <a:latin typeface="+mj-lt"/>
            </a:endParaRPr>
          </a:p>
          <a:p>
            <a:endParaRPr lang="de-DE" sz="1133" b="0" kern="600">
              <a:solidFill>
                <a:schemeClr val="bg1"/>
              </a:solidFill>
              <a:latin typeface="+mj-lt"/>
            </a:endParaRPr>
          </a:p>
          <a:p>
            <a:r>
              <a:rPr lang="de-DE" sz="1133" b="0" kern="600">
                <a:solidFill>
                  <a:schemeClr val="bg1"/>
                </a:solidFill>
                <a:latin typeface="+mj-lt"/>
              </a:rPr>
              <a:t>Farbvarianten</a:t>
            </a:r>
          </a:p>
          <a:p>
            <a:r>
              <a:rPr lang="de-DE" sz="1133" b="0" kern="600">
                <a:solidFill>
                  <a:schemeClr val="bg1"/>
                </a:solidFill>
                <a:latin typeface="+mn-lt"/>
              </a:rPr>
              <a:t>Es sind alle Layouts in allen Themenfarben enthalten, Sie können Ihre Präsentation beliebig zusammenstellen. Wenn Sie selber einfärben, müssen Sie darauf achten, dass der Farbbalken immer die selbe Farbe wie der i-Punkt im Logo hat.</a:t>
            </a:r>
          </a:p>
          <a:p>
            <a:endParaRPr lang="de-DE" sz="1133" b="0" kern="6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C12DEF99-F655-4ACE-807F-22D7A5D45F02}"/>
              </a:ext>
            </a:extLst>
          </p:cNvPr>
          <p:cNvSpPr txBox="1"/>
          <p:nvPr userDrawn="1"/>
        </p:nvSpPr>
        <p:spPr>
          <a:xfrm>
            <a:off x="-3840000" y="4993250"/>
            <a:ext cx="3360000" cy="66843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square" lIns="144000" tIns="72000" rIns="144000" bIns="72000" rtlCol="0">
            <a:spAutoFit/>
          </a:bodyPr>
          <a:lstStyle/>
          <a:p>
            <a:r>
              <a:rPr lang="de-DE" sz="1133" b="0" kern="600">
                <a:solidFill>
                  <a:schemeClr val="bg1"/>
                </a:solidFill>
                <a:latin typeface="+mj-lt"/>
              </a:rPr>
              <a:t>Elemente und Spalten ausrichten:</a:t>
            </a:r>
          </a:p>
          <a:p>
            <a:r>
              <a:rPr lang="de-DE" sz="1133" b="0" kern="600">
                <a:solidFill>
                  <a:schemeClr val="bg1"/>
                </a:solidFill>
                <a:latin typeface="+mn-lt"/>
              </a:rPr>
              <a:t>Beachten Sie die enthaltenen</a:t>
            </a: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 Führungslinien (Ansicht -&gt; Anzeigen -&gt; Führungslinien).</a:t>
            </a:r>
            <a:endParaRPr lang="de-CH" sz="1133" b="0" kern="6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317A5FF7-F545-4511-A8E8-E93A4077EE14}"/>
              </a:ext>
            </a:extLst>
          </p:cNvPr>
          <p:cNvSpPr txBox="1"/>
          <p:nvPr userDrawn="1"/>
        </p:nvSpPr>
        <p:spPr>
          <a:xfrm>
            <a:off x="-3840000" y="5661877"/>
            <a:ext cx="3360000" cy="1191462"/>
          </a:xfrm>
          <a:prstGeom prst="rect">
            <a:avLst/>
          </a:prstGeom>
          <a:solidFill>
            <a:schemeClr val="accent6"/>
          </a:solidFill>
        </p:spPr>
        <p:txBody>
          <a:bodyPr wrap="square" lIns="144000" tIns="72000" rIns="144000" bIns="72000" rtlCol="0">
            <a:spAutoFit/>
          </a:bodyPr>
          <a:lstStyle/>
          <a:p>
            <a:r>
              <a:rPr lang="de-DE" sz="1133" b="0" kern="600">
                <a:solidFill>
                  <a:schemeClr val="bg1"/>
                </a:solidFill>
                <a:latin typeface="+mj-lt"/>
              </a:rPr>
              <a:t>Positionen berichtigen/Layout zurücksetzen:</a:t>
            </a:r>
          </a:p>
          <a:p>
            <a:r>
              <a:rPr lang="de-DE" sz="1133" b="0" kern="600">
                <a:solidFill>
                  <a:schemeClr val="bg1"/>
                </a:solidFill>
                <a:latin typeface="+mn-lt"/>
              </a:rPr>
              <a:t>Falls Sie Elemente aus Versehen verschoben haben, können Sie das Layout mittels Rechtsklick auf das kleine Übersichtsbild am linken Bildschirmrand zurücksetzen. Wählen Sie hierfür den Eintrag </a:t>
            </a:r>
            <a:br>
              <a:rPr lang="de-DE" sz="1133" b="0" kern="600">
                <a:solidFill>
                  <a:schemeClr val="bg1"/>
                </a:solidFill>
                <a:latin typeface="+mn-lt"/>
              </a:rPr>
            </a:br>
            <a:r>
              <a:rPr lang="de-DE" sz="1133" b="0" kern="600">
                <a:solidFill>
                  <a:schemeClr val="bg1"/>
                </a:solidFill>
                <a:latin typeface="+mn-lt"/>
              </a:rPr>
              <a:t>»Folie zurücksetzen«</a:t>
            </a: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.</a:t>
            </a:r>
            <a:endParaRPr lang="de-CH" sz="1133" b="0" kern="6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B6C961A3-AF5D-47D4-9C45-F4B25B215F57}"/>
              </a:ext>
            </a:extLst>
          </p:cNvPr>
          <p:cNvSpPr/>
          <p:nvPr userDrawn="1"/>
        </p:nvSpPr>
        <p:spPr>
          <a:xfrm>
            <a:off x="613836" y="0"/>
            <a:ext cx="4705349" cy="6858000"/>
          </a:xfrm>
          <a:prstGeom prst="rect">
            <a:avLst/>
          </a:prstGeom>
          <a:solidFill>
            <a:schemeClr val="bg1">
              <a:alpha val="9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F0002F13-0534-4045-B63C-856CADE32D3C}"/>
              </a:ext>
            </a:extLst>
          </p:cNvPr>
          <p:cNvSpPr/>
          <p:nvPr userDrawn="1"/>
        </p:nvSpPr>
        <p:spPr>
          <a:xfrm>
            <a:off x="613835" y="0"/>
            <a:ext cx="1248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19720" y="313266"/>
            <a:ext cx="4199467" cy="3249083"/>
          </a:xfrm>
        </p:spPr>
        <p:txBody>
          <a:bodyPr lIns="0" tIns="0" rIns="144000" bIns="28800" anchor="b" anchorCtr="0">
            <a:noAutofit/>
          </a:bodyPr>
          <a:lstStyle>
            <a:lvl1pPr algn="l">
              <a:lnSpc>
                <a:spcPts val="3000"/>
              </a:lnSpc>
              <a:defRPr sz="2733" kern="600" cap="none" baseline="0">
                <a:solidFill>
                  <a:schemeClr val="accent2"/>
                </a:solidFill>
                <a:latin typeface="Suedtirol Next TT" panose="02000000000000000000" pitchFamily="2" charset="0"/>
              </a:defRPr>
            </a:lvl1pPr>
          </a:lstStyle>
          <a:p>
            <a:r>
              <a:rPr lang="de-DE"/>
              <a:t>IDM Präsentationstitel eingeben</a:t>
            </a:r>
            <a:endParaRPr lang="en-US"/>
          </a:p>
        </p:txBody>
      </p:sp>
      <p:sp>
        <p:nvSpPr>
          <p:cNvPr id="21" name="Datumsplatzhalter 20">
            <a:extLst>
              <a:ext uri="{FF2B5EF4-FFF2-40B4-BE49-F238E27FC236}">
                <a16:creationId xmlns:a16="http://schemas.microsoft.com/office/drawing/2014/main" id="{349E34B3-3650-472F-B9A7-46C6D26279B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19720" y="3562353"/>
            <a:ext cx="4199465" cy="517649"/>
          </a:xfrm>
        </p:spPr>
        <p:txBody>
          <a:bodyPr/>
          <a:lstStyle>
            <a:lvl1pPr>
              <a:lnSpc>
                <a:spcPts val="3000"/>
              </a:lnSpc>
              <a:defRPr sz="2133">
                <a:solidFill>
                  <a:schemeClr val="accent2"/>
                </a:solidFill>
              </a:defRPr>
            </a:lvl1pPr>
          </a:lstStyle>
          <a:p>
            <a:fld id="{ED17C4BD-1608-4EA2-945F-CB42D8FD39FF}" type="datetime1">
              <a:rPr lang="de-DE" smtClean="0"/>
              <a:pPr/>
              <a:t>11.05.2023</a:t>
            </a:fld>
            <a:endParaRPr lang="de-CH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19720" y="4080001"/>
            <a:ext cx="4199467" cy="960001"/>
          </a:xfrm>
        </p:spPr>
        <p:txBody>
          <a:bodyPr lIns="0" tIns="0" rIns="144000" bIns="0" anchor="t" anchorCtr="0">
            <a:noAutofit/>
          </a:bodyPr>
          <a:lstStyle>
            <a:lvl1pPr marL="0" indent="0" algn="l">
              <a:lnSpc>
                <a:spcPct val="107000"/>
              </a:lnSpc>
              <a:spcBef>
                <a:spcPts val="0"/>
              </a:spcBef>
              <a:buNone/>
              <a:defRPr sz="1133" i="1" kern="600" baseline="0">
                <a:solidFill>
                  <a:schemeClr val="accent2"/>
                </a:solidFill>
                <a:latin typeface="+mj-lt"/>
              </a:defRPr>
            </a:lvl1pPr>
            <a:lvl2pPr marL="0" indent="0" algn="l">
              <a:lnSpc>
                <a:spcPct val="107000"/>
              </a:lnSpc>
              <a:spcBef>
                <a:spcPts val="0"/>
              </a:spcBef>
              <a:buNone/>
              <a:defRPr sz="1133" i="1">
                <a:solidFill>
                  <a:schemeClr val="accent2"/>
                </a:solidFill>
                <a:latin typeface="+mj-lt"/>
              </a:defRPr>
            </a:lvl2pPr>
            <a:lvl3pPr marL="0" indent="0" algn="l">
              <a:lnSpc>
                <a:spcPct val="107000"/>
              </a:lnSpc>
              <a:spcBef>
                <a:spcPts val="0"/>
              </a:spcBef>
              <a:buNone/>
              <a:defRPr sz="1133" i="1">
                <a:solidFill>
                  <a:schemeClr val="accent2"/>
                </a:solidFill>
                <a:latin typeface="+mj-lt"/>
              </a:defRPr>
            </a:lvl3pPr>
            <a:lvl4pPr marL="0" indent="0" algn="l">
              <a:lnSpc>
                <a:spcPct val="107000"/>
              </a:lnSpc>
              <a:spcBef>
                <a:spcPts val="0"/>
              </a:spcBef>
              <a:buNone/>
              <a:defRPr sz="1133" i="1">
                <a:solidFill>
                  <a:schemeClr val="accent2"/>
                </a:solidFill>
                <a:latin typeface="+mj-lt"/>
              </a:defRPr>
            </a:lvl4pPr>
            <a:lvl5pPr marL="0" indent="0" algn="l">
              <a:lnSpc>
                <a:spcPct val="107000"/>
              </a:lnSpc>
              <a:spcBef>
                <a:spcPts val="0"/>
              </a:spcBef>
              <a:buNone/>
              <a:defRPr sz="1133" i="1">
                <a:solidFill>
                  <a:schemeClr val="accent2"/>
                </a:solidFill>
                <a:latin typeface="+mj-lt"/>
              </a:defRPr>
            </a:lvl5pPr>
            <a:lvl6pPr marL="0" indent="0" algn="l">
              <a:lnSpc>
                <a:spcPct val="107000"/>
              </a:lnSpc>
              <a:spcBef>
                <a:spcPts val="0"/>
              </a:spcBef>
              <a:buNone/>
              <a:defRPr sz="1133" i="1">
                <a:solidFill>
                  <a:schemeClr val="accent2"/>
                </a:solidFill>
              </a:defRPr>
            </a:lvl6pPr>
            <a:lvl7pPr marL="0" indent="0" algn="l">
              <a:lnSpc>
                <a:spcPct val="107000"/>
              </a:lnSpc>
              <a:spcBef>
                <a:spcPts val="0"/>
              </a:spcBef>
              <a:buNone/>
              <a:defRPr sz="1133" i="1">
                <a:solidFill>
                  <a:schemeClr val="accent2"/>
                </a:solidFill>
              </a:defRPr>
            </a:lvl7pPr>
            <a:lvl8pPr marL="0" indent="0" algn="l">
              <a:lnSpc>
                <a:spcPct val="107000"/>
              </a:lnSpc>
              <a:spcBef>
                <a:spcPts val="0"/>
              </a:spcBef>
              <a:buNone/>
              <a:defRPr sz="1133" i="1">
                <a:solidFill>
                  <a:schemeClr val="accent2"/>
                </a:solidFill>
                <a:latin typeface="+mj-lt"/>
              </a:defRPr>
            </a:lvl8pPr>
            <a:lvl9pPr marL="0" indent="0" algn="l">
              <a:lnSpc>
                <a:spcPct val="107000"/>
              </a:lnSpc>
              <a:spcBef>
                <a:spcPts val="0"/>
              </a:spcBef>
              <a:buNone/>
              <a:defRPr sz="1133" i="1">
                <a:solidFill>
                  <a:schemeClr val="accent2"/>
                </a:solidFill>
                <a:latin typeface="+mj-lt"/>
              </a:defRPr>
            </a:lvl9pPr>
          </a:lstStyle>
          <a:p>
            <a:r>
              <a:rPr lang="de-DE"/>
              <a:t>Vorname Name oder weitere Informationen</a:t>
            </a:r>
          </a:p>
          <a:p>
            <a:pPr lvl="1"/>
            <a:r>
              <a:rPr lang="de-DE"/>
              <a:t>2</a:t>
            </a:r>
          </a:p>
          <a:p>
            <a:pPr lvl="2"/>
            <a:r>
              <a:rPr lang="de-DE"/>
              <a:t>3</a:t>
            </a:r>
          </a:p>
          <a:p>
            <a:pPr lvl="3"/>
            <a:r>
              <a:rPr lang="de-DE"/>
              <a:t>4</a:t>
            </a:r>
          </a:p>
          <a:p>
            <a:pPr lvl="4"/>
            <a:r>
              <a:rPr lang="de-DE"/>
              <a:t>5</a:t>
            </a:r>
          </a:p>
          <a:p>
            <a:pPr lvl="5"/>
            <a:r>
              <a:rPr lang="de-DE"/>
              <a:t>6</a:t>
            </a:r>
          </a:p>
          <a:p>
            <a:pPr lvl="6"/>
            <a:r>
              <a:rPr lang="de-DE"/>
              <a:t>7</a:t>
            </a:r>
          </a:p>
          <a:p>
            <a:pPr lvl="7"/>
            <a:r>
              <a:rPr lang="de-DE"/>
              <a:t>8</a:t>
            </a:r>
          </a:p>
          <a:p>
            <a:pPr lvl="8"/>
            <a:r>
              <a:rPr lang="de-DE"/>
              <a:t>9</a:t>
            </a:r>
            <a:endParaRPr lang="en-US"/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E056DBC0-BF20-4B32-8484-42044AF8F7B0}"/>
              </a:ext>
            </a:extLst>
          </p:cNvPr>
          <p:cNvGrpSpPr/>
          <p:nvPr userDrawn="1"/>
        </p:nvGrpSpPr>
        <p:grpSpPr>
          <a:xfrm>
            <a:off x="1083720" y="5096995"/>
            <a:ext cx="2160000" cy="606628"/>
            <a:chOff x="-5709525" y="-5645283"/>
            <a:chExt cx="19213689" cy="5396089"/>
          </a:xfrm>
        </p:grpSpPr>
        <p:pic>
          <p:nvPicPr>
            <p:cNvPr id="34" name="Grafik 33">
              <a:extLst>
                <a:ext uri="{FF2B5EF4-FFF2-40B4-BE49-F238E27FC236}">
                  <a16:creationId xmlns:a16="http://schemas.microsoft.com/office/drawing/2014/main" id="{13AE2E17-46B1-48B5-BAF2-6952EDE43D7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5709525" y="-5645283"/>
              <a:ext cx="19213689" cy="5396089"/>
            </a:xfrm>
            <a:prstGeom prst="rect">
              <a:avLst/>
            </a:prstGeom>
          </p:spPr>
        </p:pic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26C147E0-20AA-4FBF-B7CF-407CF5E885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709525" y="-5645283"/>
              <a:ext cx="1287463" cy="1493837"/>
            </a:xfrm>
            <a:custGeom>
              <a:avLst/>
              <a:gdLst>
                <a:gd name="T0" fmla="*/ 86 w 114"/>
                <a:gd name="T1" fmla="*/ 0 h 132"/>
                <a:gd name="T2" fmla="*/ 1 w 114"/>
                <a:gd name="T3" fmla="*/ 20 h 132"/>
                <a:gd name="T4" fmla="*/ 0 w 114"/>
                <a:gd name="T5" fmla="*/ 31 h 132"/>
                <a:gd name="T6" fmla="*/ 31 w 114"/>
                <a:gd name="T7" fmla="*/ 132 h 132"/>
                <a:gd name="T8" fmla="*/ 114 w 114"/>
                <a:gd name="T9" fmla="*/ 115 h 132"/>
                <a:gd name="T10" fmla="*/ 114 w 114"/>
                <a:gd name="T11" fmla="*/ 106 h 132"/>
                <a:gd name="T12" fmla="*/ 94 w 114"/>
                <a:gd name="T13" fmla="*/ 0 h 132"/>
                <a:gd name="T14" fmla="*/ 86 w 114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32">
                  <a:moveTo>
                    <a:pt x="86" y="0"/>
                  </a:moveTo>
                  <a:cubicBezTo>
                    <a:pt x="52" y="0"/>
                    <a:pt x="25" y="8"/>
                    <a:pt x="1" y="20"/>
                  </a:cubicBezTo>
                  <a:cubicBezTo>
                    <a:pt x="1" y="23"/>
                    <a:pt x="0" y="25"/>
                    <a:pt x="0" y="31"/>
                  </a:cubicBezTo>
                  <a:cubicBezTo>
                    <a:pt x="0" y="56"/>
                    <a:pt x="18" y="102"/>
                    <a:pt x="31" y="132"/>
                  </a:cubicBezTo>
                  <a:cubicBezTo>
                    <a:pt x="56" y="132"/>
                    <a:pt x="92" y="125"/>
                    <a:pt x="114" y="115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81"/>
                    <a:pt x="113" y="24"/>
                    <a:pt x="94" y="0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sz="2400"/>
            </a:p>
          </p:txBody>
        </p: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C0C38FC0-D274-45E3-AD26-A2F4248E7BA2}"/>
              </a:ext>
            </a:extLst>
          </p:cNvPr>
          <p:cNvGrpSpPr/>
          <p:nvPr userDrawn="1"/>
        </p:nvGrpSpPr>
        <p:grpSpPr>
          <a:xfrm flipH="1">
            <a:off x="-3840000" y="313269"/>
            <a:ext cx="3360000" cy="4472091"/>
            <a:chOff x="-2880000" y="1428750"/>
            <a:chExt cx="2520000" cy="3354068"/>
          </a:xfrm>
        </p:grpSpPr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2260820E-5337-4DBD-B08D-6B89F638E87D}"/>
                </a:ext>
              </a:extLst>
            </p:cNvPr>
            <p:cNvSpPr txBox="1"/>
            <p:nvPr userDrawn="1"/>
          </p:nvSpPr>
          <p:spPr>
            <a:xfrm flipH="1">
              <a:off x="-2880000" y="1428750"/>
              <a:ext cx="2520000" cy="3350715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108000" tIns="54000" rIns="108000" bIns="54000" rtlCol="0">
              <a:spAutoFit/>
            </a:bodyPr>
            <a:lstStyle/>
            <a:p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Hintergrundbild einfügen:</a:t>
              </a:r>
            </a:p>
            <a:p>
              <a:pPr marL="153592" indent="-153592">
                <a:buAutoNum type="arabicPeriod"/>
              </a:pPr>
              <a:r>
                <a:rPr lang="de-DE" sz="1133" b="0" kern="600" baseline="0">
                  <a:solidFill>
                    <a:schemeClr val="bg1"/>
                  </a:solidFill>
                </a:rPr>
                <a:t>Rechtsklick &gt; Hintergrund formatieren…</a:t>
              </a:r>
            </a:p>
            <a:p>
              <a:pPr marL="153592" indent="-153592">
                <a:buAutoNum type="arabicPeriod"/>
              </a:pPr>
              <a:r>
                <a:rPr lang="de-DE" sz="1133" b="0" kern="600" baseline="0">
                  <a:solidFill>
                    <a:schemeClr val="bg1"/>
                  </a:solidFill>
                </a:rPr>
                <a:t>Aktivieren Sie «Bild- oder Texturfüllung» </a:t>
              </a:r>
              <a:br>
                <a:rPr lang="de-DE" sz="1133" b="0" kern="600" baseline="0">
                  <a:solidFill>
                    <a:schemeClr val="bg1"/>
                  </a:solidFill>
                </a:rPr>
              </a:br>
              <a:r>
                <a:rPr lang="de-DE" sz="1133" b="0" kern="600" baseline="0">
                  <a:solidFill>
                    <a:schemeClr val="bg1"/>
                  </a:solidFill>
                </a:rPr>
                <a:t>und wählen Sie dort das Bild aus</a:t>
              </a:r>
              <a:r>
                <a:rPr lang="de-CH" sz="1133" b="0" kern="600" baseline="0">
                  <a:solidFill>
                    <a:schemeClr val="bg1"/>
                  </a:solidFill>
                </a:rPr>
                <a:t>.</a:t>
              </a:r>
            </a:p>
            <a:p>
              <a:pPr marL="153592" indent="-153592">
                <a:buAutoNum type="arabicPeriod"/>
              </a:pPr>
              <a:r>
                <a:rPr lang="de-CH" sz="1133" b="0" kern="600" baseline="0">
                  <a:solidFill>
                    <a:schemeClr val="bg1"/>
                  </a:solidFill>
                </a:rPr>
                <a:t>Bei «Offset» können Sie das Bild verschieben. Achten Sie darauf, dass Sie das Bild nicht verziehen – Wenn bei «Oben» der Wert erhöht wird, muss der Wert bei «Unten» entsprechend verringert werden.</a:t>
              </a: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</p:txBody>
        </p:sp>
        <p:pic>
          <p:nvPicPr>
            <p:cNvPr id="27" name="Grafik 26">
              <a:extLst>
                <a:ext uri="{FF2B5EF4-FFF2-40B4-BE49-F238E27FC236}">
                  <a16:creationId xmlns:a16="http://schemas.microsoft.com/office/drawing/2014/main" id="{E2428862-A05B-4FA0-A1E5-5E0F84445CA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81" t="-6092" r="-2781" b="49412"/>
            <a:stretch/>
          </p:blipFill>
          <p:spPr>
            <a:xfrm flipH="1">
              <a:off x="-2445530" y="2444043"/>
              <a:ext cx="1870234" cy="2338775"/>
            </a:xfrm>
            <a:prstGeom prst="rect">
              <a:avLst/>
            </a:prstGeom>
          </p:spPr>
        </p:pic>
      </p:grpSp>
      <p:sp>
        <p:nvSpPr>
          <p:cNvPr id="30" name="Rechteck 29">
            <a:extLst>
              <a:ext uri="{FF2B5EF4-FFF2-40B4-BE49-F238E27FC236}">
                <a16:creationId xmlns:a16="http://schemas.microsoft.com/office/drawing/2014/main" id="{C27E6129-1D7E-42BC-831C-EE834F0B93C8}"/>
              </a:ext>
            </a:extLst>
          </p:cNvPr>
          <p:cNvSpPr/>
          <p:nvPr userDrawn="1"/>
        </p:nvSpPr>
        <p:spPr>
          <a:xfrm>
            <a:off x="-3552937" y="3462676"/>
            <a:ext cx="2431249" cy="264577"/>
          </a:xfrm>
          <a:prstGeom prst="rect">
            <a:avLst/>
          </a:prstGeom>
          <a:noFill/>
          <a:ln w="254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37654D1E-5997-4C4B-A38C-277D55138E88}"/>
              </a:ext>
            </a:extLst>
          </p:cNvPr>
          <p:cNvSpPr/>
          <p:nvPr userDrawn="1"/>
        </p:nvSpPr>
        <p:spPr>
          <a:xfrm>
            <a:off x="-3552937" y="4187826"/>
            <a:ext cx="2431249" cy="539143"/>
          </a:xfrm>
          <a:prstGeom prst="rect">
            <a:avLst/>
          </a:prstGeom>
          <a:noFill/>
          <a:ln w="254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pic>
        <p:nvPicPr>
          <p:cNvPr id="5" name="Grafik 4" descr="Ein Bild, das Tisch enthält.&#10;&#10;Automatisch generierte Beschreibung">
            <a:extLst>
              <a:ext uri="{FF2B5EF4-FFF2-40B4-BE49-F238E27FC236}">
                <a16:creationId xmlns:a16="http://schemas.microsoft.com/office/drawing/2014/main" id="{4D101762-5506-4C6F-8771-1539C3636F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49163"/>
          <a:stretch/>
        </p:blipFill>
        <p:spPr>
          <a:xfrm>
            <a:off x="-7094143" y="1323932"/>
            <a:ext cx="3051880" cy="2275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8299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820">
          <p15:clr>
            <a:srgbClr val="000000"/>
          </p15:clr>
        </p15:guide>
        <p15:guide id="3" orient="horz" pos="2690">
          <p15:clr>
            <a:srgbClr val="FBAE40"/>
          </p15:clr>
        </p15:guide>
        <p15:guide id="5" pos="2513">
          <p15:clr>
            <a:srgbClr val="000000"/>
          </p15:clr>
        </p15:guide>
        <p15:guide id="6" orient="horz" pos="1620">
          <p15:clr>
            <a:srgbClr val="000000"/>
          </p15:clr>
        </p15:guide>
        <p15:guide id="7" orient="horz" pos="1992">
          <p15:clr>
            <a:srgbClr val="000000"/>
          </p15:clr>
        </p15:guide>
        <p15:guide id="8" pos="529">
          <p15:clr>
            <a:srgbClr val="00000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CF2C24B5-A2EA-4F8B-90E6-4C26AD3B85C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1F3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FA6967E-75F1-4E35-8305-5B8BB6AA79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3835" y="2"/>
            <a:ext cx="7066164" cy="6857999"/>
          </a:xfrm>
        </p:spPr>
        <p:txBody>
          <a:bodyPr tIns="0" bIns="208800"/>
          <a:lstStyle>
            <a:lvl1pPr>
              <a:defRPr sz="4067"/>
            </a:lvl1pPr>
          </a:lstStyle>
          <a:p>
            <a:r>
              <a:rPr lang="de-DE"/>
              <a:t>Agenda</a:t>
            </a:r>
            <a:endParaRPr lang="de-CH"/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545479B9-BFB0-4008-B700-1769E0ED6336}"/>
              </a:ext>
            </a:extLst>
          </p:cNvPr>
          <p:cNvGrpSpPr/>
          <p:nvPr userDrawn="1"/>
        </p:nvGrpSpPr>
        <p:grpSpPr>
          <a:xfrm>
            <a:off x="10136049" y="559792"/>
            <a:ext cx="1440000" cy="404419"/>
            <a:chOff x="-5709525" y="-5645283"/>
            <a:chExt cx="19213689" cy="5396089"/>
          </a:xfrm>
        </p:grpSpPr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EAF8C689-1176-46B9-9104-5C81517A453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5709525" y="-5645283"/>
              <a:ext cx="19213689" cy="5396089"/>
            </a:xfrm>
            <a:prstGeom prst="rect">
              <a:avLst/>
            </a:prstGeom>
          </p:spPr>
        </p:pic>
        <p:sp>
          <p:nvSpPr>
            <p:cNvPr id="16" name="Freeform 26">
              <a:extLst>
                <a:ext uri="{FF2B5EF4-FFF2-40B4-BE49-F238E27FC236}">
                  <a16:creationId xmlns:a16="http://schemas.microsoft.com/office/drawing/2014/main" id="{9F7BFAB3-23B5-4A51-B1C8-A53E0DFBA3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709525" y="-5645283"/>
              <a:ext cx="1287463" cy="1493837"/>
            </a:xfrm>
            <a:custGeom>
              <a:avLst/>
              <a:gdLst>
                <a:gd name="T0" fmla="*/ 86 w 114"/>
                <a:gd name="T1" fmla="*/ 0 h 132"/>
                <a:gd name="T2" fmla="*/ 1 w 114"/>
                <a:gd name="T3" fmla="*/ 20 h 132"/>
                <a:gd name="T4" fmla="*/ 0 w 114"/>
                <a:gd name="T5" fmla="*/ 31 h 132"/>
                <a:gd name="T6" fmla="*/ 31 w 114"/>
                <a:gd name="T7" fmla="*/ 132 h 132"/>
                <a:gd name="T8" fmla="*/ 114 w 114"/>
                <a:gd name="T9" fmla="*/ 115 h 132"/>
                <a:gd name="T10" fmla="*/ 114 w 114"/>
                <a:gd name="T11" fmla="*/ 106 h 132"/>
                <a:gd name="T12" fmla="*/ 94 w 114"/>
                <a:gd name="T13" fmla="*/ 0 h 132"/>
                <a:gd name="T14" fmla="*/ 86 w 114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32">
                  <a:moveTo>
                    <a:pt x="86" y="0"/>
                  </a:moveTo>
                  <a:cubicBezTo>
                    <a:pt x="52" y="0"/>
                    <a:pt x="25" y="8"/>
                    <a:pt x="1" y="20"/>
                  </a:cubicBezTo>
                  <a:cubicBezTo>
                    <a:pt x="1" y="23"/>
                    <a:pt x="0" y="25"/>
                    <a:pt x="0" y="31"/>
                  </a:cubicBezTo>
                  <a:cubicBezTo>
                    <a:pt x="0" y="56"/>
                    <a:pt x="18" y="102"/>
                    <a:pt x="31" y="132"/>
                  </a:cubicBezTo>
                  <a:cubicBezTo>
                    <a:pt x="56" y="132"/>
                    <a:pt x="92" y="125"/>
                    <a:pt x="114" y="115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81"/>
                    <a:pt x="113" y="24"/>
                    <a:pt x="94" y="0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sz="2400"/>
            </a:p>
          </p:txBody>
        </p:sp>
      </p:grp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13E4B5F-C8DE-46D2-B2BE-2AD0DFA3A8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80001" y="1"/>
            <a:ext cx="3896051" cy="6858000"/>
          </a:xfrm>
        </p:spPr>
        <p:txBody>
          <a:bodyPr bIns="180000" anchor="ctr" anchorCtr="0"/>
          <a:lstStyle>
            <a:lvl1pPr marL="307184" indent="-307184">
              <a:lnSpc>
                <a:spcPts val="3333"/>
              </a:lnSpc>
              <a:spcBef>
                <a:spcPts val="0"/>
              </a:spcBef>
              <a:buFont typeface="+mj-lt"/>
              <a:buAutoNum type="arabicPeriod"/>
              <a:defRPr>
                <a:solidFill>
                  <a:schemeClr val="accent2"/>
                </a:solidFill>
              </a:defRPr>
            </a:lvl1pPr>
            <a:lvl2pPr marL="0" indent="0">
              <a:lnSpc>
                <a:spcPts val="3333"/>
              </a:lnSpc>
              <a:spcBef>
                <a:spcPts val="0"/>
              </a:spcBef>
              <a:buFont typeface="+mj-lt"/>
              <a:buNone/>
              <a:defRPr>
                <a:solidFill>
                  <a:schemeClr val="accent2"/>
                </a:solidFill>
              </a:defRPr>
            </a:lvl2pPr>
            <a:lvl3pPr marL="0" indent="0">
              <a:lnSpc>
                <a:spcPts val="3333"/>
              </a:lnSpc>
              <a:spcBef>
                <a:spcPts val="0"/>
              </a:spcBef>
              <a:buFont typeface="+mj-lt"/>
              <a:buNone/>
              <a:defRPr>
                <a:solidFill>
                  <a:schemeClr val="accent2"/>
                </a:solidFill>
              </a:defRPr>
            </a:lvl3pPr>
            <a:lvl4pPr marL="0" indent="0">
              <a:lnSpc>
                <a:spcPts val="3333"/>
              </a:lnSpc>
              <a:spcBef>
                <a:spcPts val="0"/>
              </a:spcBef>
              <a:buFont typeface="+mj-lt"/>
              <a:buNone/>
              <a:defRPr>
                <a:solidFill>
                  <a:schemeClr val="accent2"/>
                </a:solidFill>
              </a:defRPr>
            </a:lvl4pPr>
            <a:lvl5pPr marL="0" indent="0">
              <a:lnSpc>
                <a:spcPts val="3333"/>
              </a:lnSpc>
              <a:spcBef>
                <a:spcPts val="0"/>
              </a:spcBef>
              <a:buFont typeface="+mj-lt"/>
              <a:buNone/>
              <a:defRPr>
                <a:solidFill>
                  <a:schemeClr val="accent2"/>
                </a:solidFill>
              </a:defRPr>
            </a:lvl5pPr>
            <a:lvl6pPr>
              <a:spcBef>
                <a:spcPts val="0"/>
              </a:spcBef>
              <a:defRPr>
                <a:solidFill>
                  <a:schemeClr val="accent2"/>
                </a:solidFill>
                <a:latin typeface="+mn-lt"/>
              </a:defRPr>
            </a:lvl6pPr>
            <a:lvl7pPr>
              <a:lnSpc>
                <a:spcPts val="3000"/>
              </a:lnSpc>
              <a:defRPr sz="2133">
                <a:solidFill>
                  <a:schemeClr val="accent2"/>
                </a:solidFill>
                <a:latin typeface="+mn-lt"/>
              </a:defRPr>
            </a:lvl7pPr>
            <a:lvl8pPr>
              <a:lnSpc>
                <a:spcPts val="3000"/>
              </a:lnSpc>
              <a:defRPr sz="2133"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007CD87-217F-4A01-A968-CF5B9074BDAC}"/>
              </a:ext>
            </a:extLst>
          </p:cNvPr>
          <p:cNvSpPr/>
          <p:nvPr userDrawn="1"/>
        </p:nvSpPr>
        <p:spPr>
          <a:xfrm>
            <a:off x="0" y="0"/>
            <a:ext cx="1248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</p:spTree>
    <p:extLst>
      <p:ext uri="{BB962C8B-B14F-4D97-AF65-F5344CB8AC3E}">
        <p14:creationId xmlns:p14="http://schemas.microsoft.com/office/powerpoint/2010/main" val="28797065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00000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CF2C24B5-A2EA-4F8B-90E6-4C26AD3B85C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1F3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FA6967E-75F1-4E35-8305-5B8BB6AA79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3835" y="2"/>
            <a:ext cx="7066164" cy="6857999"/>
          </a:xfrm>
        </p:spPr>
        <p:txBody>
          <a:bodyPr tIns="0" bIns="208800"/>
          <a:lstStyle>
            <a:lvl1pPr>
              <a:defRPr sz="4067"/>
            </a:lvl1pPr>
          </a:lstStyle>
          <a:p>
            <a:r>
              <a:rPr lang="de-DE"/>
              <a:t>Agenda</a:t>
            </a:r>
            <a:endParaRPr lang="de-CH"/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545479B9-BFB0-4008-B700-1769E0ED6336}"/>
              </a:ext>
            </a:extLst>
          </p:cNvPr>
          <p:cNvGrpSpPr/>
          <p:nvPr userDrawn="1"/>
        </p:nvGrpSpPr>
        <p:grpSpPr>
          <a:xfrm>
            <a:off x="10136049" y="559792"/>
            <a:ext cx="1440000" cy="404419"/>
            <a:chOff x="-5709525" y="-5645283"/>
            <a:chExt cx="19213689" cy="5396089"/>
          </a:xfrm>
        </p:grpSpPr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EAF8C689-1176-46B9-9104-5C81517A453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5709525" y="-5645283"/>
              <a:ext cx="19213689" cy="5396089"/>
            </a:xfrm>
            <a:prstGeom prst="rect">
              <a:avLst/>
            </a:prstGeom>
          </p:spPr>
        </p:pic>
        <p:sp>
          <p:nvSpPr>
            <p:cNvPr id="16" name="Freeform 26">
              <a:extLst>
                <a:ext uri="{FF2B5EF4-FFF2-40B4-BE49-F238E27FC236}">
                  <a16:creationId xmlns:a16="http://schemas.microsoft.com/office/drawing/2014/main" id="{9F7BFAB3-23B5-4A51-B1C8-A53E0DFBA3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709525" y="-5645283"/>
              <a:ext cx="1287463" cy="1493837"/>
            </a:xfrm>
            <a:custGeom>
              <a:avLst/>
              <a:gdLst>
                <a:gd name="T0" fmla="*/ 86 w 114"/>
                <a:gd name="T1" fmla="*/ 0 h 132"/>
                <a:gd name="T2" fmla="*/ 1 w 114"/>
                <a:gd name="T3" fmla="*/ 20 h 132"/>
                <a:gd name="T4" fmla="*/ 0 w 114"/>
                <a:gd name="T5" fmla="*/ 31 h 132"/>
                <a:gd name="T6" fmla="*/ 31 w 114"/>
                <a:gd name="T7" fmla="*/ 132 h 132"/>
                <a:gd name="T8" fmla="*/ 114 w 114"/>
                <a:gd name="T9" fmla="*/ 115 h 132"/>
                <a:gd name="T10" fmla="*/ 114 w 114"/>
                <a:gd name="T11" fmla="*/ 106 h 132"/>
                <a:gd name="T12" fmla="*/ 94 w 114"/>
                <a:gd name="T13" fmla="*/ 0 h 132"/>
                <a:gd name="T14" fmla="*/ 86 w 114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32">
                  <a:moveTo>
                    <a:pt x="86" y="0"/>
                  </a:moveTo>
                  <a:cubicBezTo>
                    <a:pt x="52" y="0"/>
                    <a:pt x="25" y="8"/>
                    <a:pt x="1" y="20"/>
                  </a:cubicBezTo>
                  <a:cubicBezTo>
                    <a:pt x="1" y="23"/>
                    <a:pt x="0" y="25"/>
                    <a:pt x="0" y="31"/>
                  </a:cubicBezTo>
                  <a:cubicBezTo>
                    <a:pt x="0" y="56"/>
                    <a:pt x="18" y="102"/>
                    <a:pt x="31" y="132"/>
                  </a:cubicBezTo>
                  <a:cubicBezTo>
                    <a:pt x="56" y="132"/>
                    <a:pt x="92" y="125"/>
                    <a:pt x="114" y="115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81"/>
                    <a:pt x="113" y="24"/>
                    <a:pt x="94" y="0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sz="2400"/>
            </a:p>
          </p:txBody>
        </p:sp>
      </p:grp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13E4B5F-C8DE-46D2-B2BE-2AD0DFA3A8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80001" y="1"/>
            <a:ext cx="3896051" cy="6858000"/>
          </a:xfrm>
        </p:spPr>
        <p:txBody>
          <a:bodyPr bIns="180000" anchor="ctr" anchorCtr="0"/>
          <a:lstStyle>
            <a:lvl1pPr marL="307184" indent="-307184">
              <a:lnSpc>
                <a:spcPts val="3333"/>
              </a:lnSpc>
              <a:spcBef>
                <a:spcPts val="0"/>
              </a:spcBef>
              <a:buFont typeface="+mj-lt"/>
              <a:buAutoNum type="arabicPeriod"/>
              <a:defRPr>
                <a:solidFill>
                  <a:schemeClr val="accent2"/>
                </a:solidFill>
              </a:defRPr>
            </a:lvl1pPr>
            <a:lvl2pPr marL="0" indent="0">
              <a:lnSpc>
                <a:spcPts val="3333"/>
              </a:lnSpc>
              <a:spcBef>
                <a:spcPts val="0"/>
              </a:spcBef>
              <a:buFont typeface="+mj-lt"/>
              <a:buNone/>
              <a:defRPr>
                <a:solidFill>
                  <a:schemeClr val="accent2"/>
                </a:solidFill>
              </a:defRPr>
            </a:lvl2pPr>
            <a:lvl3pPr marL="0" indent="0">
              <a:lnSpc>
                <a:spcPts val="3333"/>
              </a:lnSpc>
              <a:spcBef>
                <a:spcPts val="0"/>
              </a:spcBef>
              <a:buFont typeface="+mj-lt"/>
              <a:buNone/>
              <a:defRPr>
                <a:solidFill>
                  <a:schemeClr val="accent2"/>
                </a:solidFill>
              </a:defRPr>
            </a:lvl3pPr>
            <a:lvl4pPr marL="0" indent="0">
              <a:lnSpc>
                <a:spcPts val="3333"/>
              </a:lnSpc>
              <a:spcBef>
                <a:spcPts val="0"/>
              </a:spcBef>
              <a:buFont typeface="+mj-lt"/>
              <a:buNone/>
              <a:defRPr>
                <a:solidFill>
                  <a:schemeClr val="accent2"/>
                </a:solidFill>
              </a:defRPr>
            </a:lvl4pPr>
            <a:lvl5pPr marL="0" indent="0">
              <a:lnSpc>
                <a:spcPts val="3333"/>
              </a:lnSpc>
              <a:spcBef>
                <a:spcPts val="0"/>
              </a:spcBef>
              <a:buFont typeface="+mj-lt"/>
              <a:buNone/>
              <a:defRPr>
                <a:solidFill>
                  <a:schemeClr val="accent2"/>
                </a:solidFill>
              </a:defRPr>
            </a:lvl5pPr>
            <a:lvl6pPr>
              <a:spcBef>
                <a:spcPts val="0"/>
              </a:spcBef>
              <a:defRPr>
                <a:solidFill>
                  <a:schemeClr val="accent2"/>
                </a:solidFill>
                <a:latin typeface="+mn-lt"/>
              </a:defRPr>
            </a:lvl6pPr>
            <a:lvl7pPr>
              <a:lnSpc>
                <a:spcPts val="3000"/>
              </a:lnSpc>
              <a:defRPr sz="2133">
                <a:solidFill>
                  <a:schemeClr val="accent2"/>
                </a:solidFill>
                <a:latin typeface="+mn-lt"/>
              </a:defRPr>
            </a:lvl7pPr>
            <a:lvl8pPr>
              <a:lnSpc>
                <a:spcPts val="3000"/>
              </a:lnSpc>
              <a:defRPr sz="2133"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007CD87-217F-4A01-A968-CF5B9074BDAC}"/>
              </a:ext>
            </a:extLst>
          </p:cNvPr>
          <p:cNvSpPr/>
          <p:nvPr userDrawn="1"/>
        </p:nvSpPr>
        <p:spPr>
          <a:xfrm>
            <a:off x="0" y="0"/>
            <a:ext cx="1248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</p:spTree>
    <p:extLst>
      <p:ext uri="{BB962C8B-B14F-4D97-AF65-F5344CB8AC3E}">
        <p14:creationId xmlns:p14="http://schemas.microsoft.com/office/powerpoint/2010/main" val="5307524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00000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00268912-FEFC-4247-9C07-44CCCAB26C2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1F3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0C029A0E-5C42-4BF6-96DD-F7830E2CE152}"/>
              </a:ext>
            </a:extLst>
          </p:cNvPr>
          <p:cNvSpPr/>
          <p:nvPr userDrawn="1"/>
        </p:nvSpPr>
        <p:spPr>
          <a:xfrm>
            <a:off x="0" y="313268"/>
            <a:ext cx="12192000" cy="8974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7D717600-E09D-4A92-98DA-034D4D89AE3A}"/>
              </a:ext>
            </a:extLst>
          </p:cNvPr>
          <p:cNvSpPr/>
          <p:nvPr userDrawn="1"/>
        </p:nvSpPr>
        <p:spPr>
          <a:xfrm>
            <a:off x="0" y="313268"/>
            <a:ext cx="124800" cy="8974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8B47D779-AC0B-4D3E-B696-5895E77E137B}"/>
              </a:ext>
            </a:extLst>
          </p:cNvPr>
          <p:cNvGrpSpPr/>
          <p:nvPr userDrawn="1"/>
        </p:nvGrpSpPr>
        <p:grpSpPr>
          <a:xfrm>
            <a:off x="10136049" y="559792"/>
            <a:ext cx="1440000" cy="404419"/>
            <a:chOff x="-5709525" y="-5645283"/>
            <a:chExt cx="19213689" cy="5396089"/>
          </a:xfrm>
        </p:grpSpPr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2D7ADE88-1C00-48E1-9BFB-23F474CA4B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5709525" y="-5645283"/>
              <a:ext cx="19213689" cy="5396089"/>
            </a:xfrm>
            <a:prstGeom prst="rect">
              <a:avLst/>
            </a:prstGeom>
          </p:spPr>
        </p:pic>
        <p:sp>
          <p:nvSpPr>
            <p:cNvPr id="31" name="Freeform 26">
              <a:extLst>
                <a:ext uri="{FF2B5EF4-FFF2-40B4-BE49-F238E27FC236}">
                  <a16:creationId xmlns:a16="http://schemas.microsoft.com/office/drawing/2014/main" id="{1BC43C88-D662-4F8A-AF03-7A067C396F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709525" y="-5645283"/>
              <a:ext cx="1287463" cy="1493837"/>
            </a:xfrm>
            <a:custGeom>
              <a:avLst/>
              <a:gdLst>
                <a:gd name="T0" fmla="*/ 86 w 114"/>
                <a:gd name="T1" fmla="*/ 0 h 132"/>
                <a:gd name="T2" fmla="*/ 1 w 114"/>
                <a:gd name="T3" fmla="*/ 20 h 132"/>
                <a:gd name="T4" fmla="*/ 0 w 114"/>
                <a:gd name="T5" fmla="*/ 31 h 132"/>
                <a:gd name="T6" fmla="*/ 31 w 114"/>
                <a:gd name="T7" fmla="*/ 132 h 132"/>
                <a:gd name="T8" fmla="*/ 114 w 114"/>
                <a:gd name="T9" fmla="*/ 115 h 132"/>
                <a:gd name="T10" fmla="*/ 114 w 114"/>
                <a:gd name="T11" fmla="*/ 106 h 132"/>
                <a:gd name="T12" fmla="*/ 94 w 114"/>
                <a:gd name="T13" fmla="*/ 0 h 132"/>
                <a:gd name="T14" fmla="*/ 86 w 114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32">
                  <a:moveTo>
                    <a:pt x="86" y="0"/>
                  </a:moveTo>
                  <a:cubicBezTo>
                    <a:pt x="52" y="0"/>
                    <a:pt x="25" y="8"/>
                    <a:pt x="1" y="20"/>
                  </a:cubicBezTo>
                  <a:cubicBezTo>
                    <a:pt x="1" y="23"/>
                    <a:pt x="0" y="25"/>
                    <a:pt x="0" y="31"/>
                  </a:cubicBezTo>
                  <a:cubicBezTo>
                    <a:pt x="0" y="56"/>
                    <a:pt x="18" y="102"/>
                    <a:pt x="31" y="132"/>
                  </a:cubicBezTo>
                  <a:cubicBezTo>
                    <a:pt x="56" y="132"/>
                    <a:pt x="92" y="125"/>
                    <a:pt x="114" y="115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81"/>
                    <a:pt x="113" y="24"/>
                    <a:pt x="94" y="0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sz="240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eingeben</a:t>
            </a:r>
            <a:endParaRPr lang="en-US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89AFE0F6-ACCC-4CF1-86F5-F83EB1F99F37}"/>
              </a:ext>
            </a:extLst>
          </p:cNvPr>
          <p:cNvGrpSpPr/>
          <p:nvPr userDrawn="1"/>
        </p:nvGrpSpPr>
        <p:grpSpPr>
          <a:xfrm>
            <a:off x="-3840000" y="1824002"/>
            <a:ext cx="3360000" cy="4118935"/>
            <a:chOff x="9144000" y="1419149"/>
            <a:chExt cx="2880000" cy="3089200"/>
          </a:xfrm>
          <a:solidFill>
            <a:schemeClr val="accent2"/>
          </a:solidFill>
        </p:grpSpPr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BB856FB6-B5C1-4CC0-91F0-E0894158F7EE}"/>
                </a:ext>
              </a:extLst>
            </p:cNvPr>
            <p:cNvSpPr txBox="1"/>
            <p:nvPr userDrawn="1"/>
          </p:nvSpPr>
          <p:spPr>
            <a:xfrm flipH="1">
              <a:off x="9144000" y="1419149"/>
              <a:ext cx="2880000" cy="308920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108000" tIns="54000" rIns="108000" bIns="54000" rtlCol="0">
              <a:spAutoFit/>
            </a:bodyPr>
            <a:lstStyle/>
            <a:p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Texte richtig formatieren:</a:t>
              </a:r>
            </a:p>
            <a:p>
              <a:r>
                <a:rPr lang="de-DE" sz="1133" b="0" kern="600">
                  <a:solidFill>
                    <a:schemeClr val="bg1"/>
                  </a:solidFill>
                  <a:latin typeface="+mn-lt"/>
                </a:rPr>
                <a:t>Texte werden über die »Textebenen« richtig formatiert. Setzen Sie den Cursor in den gewünschten Absatz und wechseln Sie unter </a:t>
              </a:r>
              <a:br>
                <a:rPr lang="de-DE" sz="1133" b="0" kern="600">
                  <a:solidFill>
                    <a:schemeClr val="bg1"/>
                  </a:solidFill>
                  <a:latin typeface="+mn-lt"/>
                </a:rPr>
              </a:br>
              <a:r>
                <a:rPr lang="de-DE" sz="1133" b="0" kern="600">
                  <a:solidFill>
                    <a:schemeClr val="bg1"/>
                  </a:solidFill>
                  <a:latin typeface="+mn-lt"/>
                </a:rPr>
                <a:t>»Start -&gt; Absatz« eine Ebene weiter bzw. zurück.</a:t>
              </a:r>
              <a:br>
                <a:rPr lang="de-DE" sz="1133" b="0" kern="600">
                  <a:solidFill>
                    <a:schemeClr val="bg1"/>
                  </a:solidFill>
                  <a:latin typeface="+mn-lt"/>
                </a:rPr>
              </a:br>
              <a:br>
                <a:rPr lang="de-DE" sz="1133" b="0" kern="600">
                  <a:solidFill>
                    <a:schemeClr val="bg1"/>
                  </a:solidFill>
                  <a:latin typeface="+mn-lt"/>
                </a:rPr>
              </a:br>
              <a:br>
                <a:rPr lang="de-DE" sz="1133" b="0" kern="600">
                  <a:solidFill>
                    <a:schemeClr val="bg1"/>
                  </a:solidFill>
                  <a:latin typeface="+mn-lt"/>
                </a:rPr>
              </a:br>
              <a:br>
                <a:rPr lang="de-DE" sz="1133" b="0" kern="600">
                  <a:solidFill>
                    <a:schemeClr val="bg1"/>
                  </a:solidFill>
                  <a:latin typeface="+mn-lt"/>
                </a:rPr>
              </a:br>
              <a:br>
                <a:rPr lang="de-DE" sz="1133" b="0" kern="600">
                  <a:solidFill>
                    <a:schemeClr val="bg1"/>
                  </a:solidFill>
                  <a:latin typeface="+mn-lt"/>
                </a:rPr>
              </a:br>
              <a:endParaRPr lang="de-DE" sz="1133" b="0" kern="600">
                <a:solidFill>
                  <a:schemeClr val="bg1"/>
                </a:solidFill>
                <a:latin typeface="+mn-lt"/>
              </a:endParaRPr>
            </a:p>
            <a:p>
              <a:endParaRPr lang="de-DE" sz="1133" b="0" kern="600">
                <a:solidFill>
                  <a:schemeClr val="bg1"/>
                </a:solidFill>
                <a:latin typeface="+mn-lt"/>
              </a:endParaRPr>
            </a:p>
            <a:p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Diese Vorgehensweise gilt für</a:t>
              </a:r>
              <a:r>
                <a:rPr lang="de-DE" sz="1133" b="0" kern="600" baseline="0">
                  <a:solidFill>
                    <a:schemeClr val="bg1"/>
                  </a:solidFill>
                  <a:latin typeface="+mj-lt"/>
                </a:rPr>
                <a:t> sämtliche enthaltenen </a:t>
              </a:r>
              <a:r>
                <a:rPr lang="de-DE" sz="1133" b="0" kern="600" baseline="0" err="1">
                  <a:solidFill>
                    <a:schemeClr val="bg1"/>
                  </a:solidFill>
                  <a:latin typeface="+mj-lt"/>
                </a:rPr>
                <a:t>Layoutmaster</a:t>
              </a:r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.</a:t>
              </a:r>
            </a:p>
            <a:p>
              <a:endParaRPr lang="de-DE" sz="1133" b="0" kern="600">
                <a:solidFill>
                  <a:schemeClr val="bg1"/>
                </a:solidFill>
                <a:latin typeface="+mj-lt"/>
              </a:endParaRPr>
            </a:p>
            <a:p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Hier enthalten:</a:t>
              </a:r>
            </a:p>
            <a:p>
              <a:r>
                <a:rPr lang="de-DE" sz="1133" b="0" kern="600">
                  <a:solidFill>
                    <a:schemeClr val="bg1"/>
                  </a:solidFill>
                  <a:latin typeface="+mn-lt"/>
                </a:rPr>
                <a:t>Ebene</a:t>
              </a:r>
              <a:r>
                <a:rPr lang="de-DE" sz="1133" b="0" kern="600" baseline="0">
                  <a:solidFill>
                    <a:schemeClr val="bg1"/>
                  </a:solidFill>
                  <a:latin typeface="+mn-lt"/>
                </a:rPr>
                <a:t> 1 = Normaler Text</a:t>
              </a:r>
            </a:p>
            <a:p>
              <a:r>
                <a:rPr lang="de-DE" sz="1133" b="0" kern="600" baseline="0">
                  <a:solidFill>
                    <a:schemeClr val="bg1"/>
                  </a:solidFill>
                  <a:latin typeface="+mn-lt"/>
                </a:rPr>
                <a:t>Ebene 2 = Auflistung</a:t>
              </a:r>
            </a:p>
            <a:p>
              <a:r>
                <a:rPr lang="de-DE" sz="1133" b="0" kern="600" baseline="0">
                  <a:solidFill>
                    <a:schemeClr val="bg1"/>
                  </a:solidFill>
                  <a:latin typeface="+mn-lt"/>
                </a:rPr>
                <a:t>Ebene 3 = Auflistung, Unterpunkt</a:t>
              </a:r>
            </a:p>
            <a:p>
              <a:r>
                <a:rPr lang="de-DE" sz="1133" b="0" kern="600" baseline="0">
                  <a:solidFill>
                    <a:schemeClr val="bg1"/>
                  </a:solidFill>
                  <a:latin typeface="+mn-lt"/>
                </a:rPr>
                <a:t>Ebene 4 = Nummerierung</a:t>
              </a:r>
            </a:p>
            <a:p>
              <a:r>
                <a:rPr lang="de-DE" sz="1133" b="0" kern="600" baseline="0">
                  <a:solidFill>
                    <a:schemeClr val="bg1"/>
                  </a:solidFill>
                  <a:latin typeface="+mn-lt"/>
                </a:rPr>
                <a:t>Ebene 5 = Nummerierung, Unterpunkt</a:t>
              </a:r>
            </a:p>
            <a:p>
              <a:r>
                <a:rPr lang="de-DE" sz="1133" b="0" kern="600" baseline="0">
                  <a:solidFill>
                    <a:schemeClr val="bg1"/>
                  </a:solidFill>
                  <a:latin typeface="+mn-lt"/>
                </a:rPr>
                <a:t>Ebene 6 = Untertitel mit Abstand</a:t>
              </a:r>
            </a:p>
            <a:p>
              <a:pPr marL="0" marR="0" lvl="0" indent="0" algn="l" defTabSz="609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133" b="0" kern="600" baseline="0">
                  <a:solidFill>
                    <a:schemeClr val="bg1"/>
                  </a:solidFill>
                  <a:latin typeface="+mn-lt"/>
                </a:rPr>
                <a:t>Ebene 7 = Kleiner Text, fett (Legenden-Titel)</a:t>
              </a:r>
              <a:endParaRPr lang="de-CH" sz="1133" b="0" kern="600">
                <a:solidFill>
                  <a:schemeClr val="bg1"/>
                </a:solidFill>
                <a:latin typeface="+mn-lt"/>
              </a:endParaRPr>
            </a:p>
            <a:p>
              <a:r>
                <a:rPr lang="de-DE" sz="1133" b="0" kern="600" baseline="0">
                  <a:solidFill>
                    <a:schemeClr val="bg1"/>
                  </a:solidFill>
                  <a:latin typeface="+mn-lt"/>
                </a:rPr>
                <a:t>Ebene 8 = Kleiner Text (Legenden)</a:t>
              </a:r>
              <a:endParaRPr lang="de-CH" sz="1133" b="0" kern="600">
                <a:solidFill>
                  <a:schemeClr val="bg1"/>
                </a:solidFill>
                <a:latin typeface="+mn-lt"/>
              </a:endParaRPr>
            </a:p>
          </p:txBody>
        </p:sp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114AFEF1-0318-47F8-B6DA-D8E6F18A50A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44799" y="2169871"/>
              <a:ext cx="2521785" cy="638937"/>
            </a:xfrm>
            <a:prstGeom prst="rect">
              <a:avLst/>
            </a:prstGeom>
            <a:grpFill/>
          </p:spPr>
        </p:pic>
      </p:grp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2AA584E9-3012-4B24-A749-4A95E1A8940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14401" y="1824001"/>
            <a:ext cx="10961651" cy="441805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  <a:endParaRPr lang="de-CH"/>
          </a:p>
        </p:txBody>
      </p:sp>
      <p:sp>
        <p:nvSpPr>
          <p:cNvPr id="24" name="Fußzeilenplatzhalter 23">
            <a:extLst>
              <a:ext uri="{FF2B5EF4-FFF2-40B4-BE49-F238E27FC236}">
                <a16:creationId xmlns:a16="http://schemas.microsoft.com/office/drawing/2014/main" id="{493BFEA9-14F2-4437-91BF-3C8BD3D7D98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13836" y="6417600"/>
            <a:ext cx="9523765" cy="240000"/>
          </a:xfrm>
        </p:spPr>
        <p:txBody>
          <a:bodyPr/>
          <a:lstStyle>
            <a:lvl1pPr algn="l">
              <a:defRPr/>
            </a:lvl1pPr>
          </a:lstStyle>
          <a:p>
            <a:pPr algn="l"/>
            <a:endParaRPr lang="de-CH"/>
          </a:p>
        </p:txBody>
      </p:sp>
      <p:sp>
        <p:nvSpPr>
          <p:cNvPr id="25" name="Foliennummernplatzhalter 24">
            <a:extLst>
              <a:ext uri="{FF2B5EF4-FFF2-40B4-BE49-F238E27FC236}">
                <a16:creationId xmlns:a16="http://schemas.microsoft.com/office/drawing/2014/main" id="{B4913DF0-0D6F-4131-9FB3-13087EBD3A0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84BE2A-AF72-474C-A580-796179F45542}" type="slidenum">
              <a:rPr lang="de-CH" smtClean="0"/>
              <a:pPr/>
              <a:t>‹Nr.›</a:t>
            </a:fld>
            <a:endParaRPr lang="de-CH" kern="600"/>
          </a:p>
        </p:txBody>
      </p:sp>
    </p:spTree>
    <p:extLst>
      <p:ext uri="{BB962C8B-B14F-4D97-AF65-F5344CB8AC3E}">
        <p14:creationId xmlns:p14="http://schemas.microsoft.com/office/powerpoint/2010/main" val="374621726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>
            <a:extLst>
              <a:ext uri="{FF2B5EF4-FFF2-40B4-BE49-F238E27FC236}">
                <a16:creationId xmlns:a16="http://schemas.microsoft.com/office/drawing/2014/main" id="{CB042353-23B1-4231-9140-0703368876E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1F3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1433744D-B2F6-46E3-909C-E463B29BF7A3}"/>
              </a:ext>
            </a:extLst>
          </p:cNvPr>
          <p:cNvSpPr/>
          <p:nvPr userDrawn="1"/>
        </p:nvSpPr>
        <p:spPr>
          <a:xfrm>
            <a:off x="0" y="313268"/>
            <a:ext cx="12192000" cy="8974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AA960B82-D397-4876-B6B1-ECB853A3210D}"/>
              </a:ext>
            </a:extLst>
          </p:cNvPr>
          <p:cNvSpPr/>
          <p:nvPr userDrawn="1"/>
        </p:nvSpPr>
        <p:spPr>
          <a:xfrm>
            <a:off x="0" y="313268"/>
            <a:ext cx="124800" cy="8974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9C00F691-D5BB-4B02-9687-4FBD883954B2}"/>
              </a:ext>
            </a:extLst>
          </p:cNvPr>
          <p:cNvGrpSpPr/>
          <p:nvPr userDrawn="1"/>
        </p:nvGrpSpPr>
        <p:grpSpPr>
          <a:xfrm>
            <a:off x="10136049" y="559792"/>
            <a:ext cx="1440000" cy="404419"/>
            <a:chOff x="-5709525" y="-5645283"/>
            <a:chExt cx="19213689" cy="5396089"/>
          </a:xfrm>
        </p:grpSpPr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BBBB8581-2448-4EF8-B172-F3C645BB152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5709525" y="-5645283"/>
              <a:ext cx="19213689" cy="5396089"/>
            </a:xfrm>
            <a:prstGeom prst="rect">
              <a:avLst/>
            </a:prstGeom>
          </p:spPr>
        </p:pic>
        <p:sp>
          <p:nvSpPr>
            <p:cNvPr id="23" name="Freeform 26">
              <a:extLst>
                <a:ext uri="{FF2B5EF4-FFF2-40B4-BE49-F238E27FC236}">
                  <a16:creationId xmlns:a16="http://schemas.microsoft.com/office/drawing/2014/main" id="{72B5B87F-0459-411D-9A48-65B11E8799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709525" y="-5645283"/>
              <a:ext cx="1287463" cy="1493837"/>
            </a:xfrm>
            <a:custGeom>
              <a:avLst/>
              <a:gdLst>
                <a:gd name="T0" fmla="*/ 86 w 114"/>
                <a:gd name="T1" fmla="*/ 0 h 132"/>
                <a:gd name="T2" fmla="*/ 1 w 114"/>
                <a:gd name="T3" fmla="*/ 20 h 132"/>
                <a:gd name="T4" fmla="*/ 0 w 114"/>
                <a:gd name="T5" fmla="*/ 31 h 132"/>
                <a:gd name="T6" fmla="*/ 31 w 114"/>
                <a:gd name="T7" fmla="*/ 132 h 132"/>
                <a:gd name="T8" fmla="*/ 114 w 114"/>
                <a:gd name="T9" fmla="*/ 115 h 132"/>
                <a:gd name="T10" fmla="*/ 114 w 114"/>
                <a:gd name="T11" fmla="*/ 106 h 132"/>
                <a:gd name="T12" fmla="*/ 94 w 114"/>
                <a:gd name="T13" fmla="*/ 0 h 132"/>
                <a:gd name="T14" fmla="*/ 86 w 114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32">
                  <a:moveTo>
                    <a:pt x="86" y="0"/>
                  </a:moveTo>
                  <a:cubicBezTo>
                    <a:pt x="52" y="0"/>
                    <a:pt x="25" y="8"/>
                    <a:pt x="1" y="20"/>
                  </a:cubicBezTo>
                  <a:cubicBezTo>
                    <a:pt x="1" y="23"/>
                    <a:pt x="0" y="25"/>
                    <a:pt x="0" y="31"/>
                  </a:cubicBezTo>
                  <a:cubicBezTo>
                    <a:pt x="0" y="56"/>
                    <a:pt x="18" y="102"/>
                    <a:pt x="31" y="132"/>
                  </a:cubicBezTo>
                  <a:cubicBezTo>
                    <a:pt x="56" y="132"/>
                    <a:pt x="92" y="125"/>
                    <a:pt x="114" y="115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81"/>
                    <a:pt x="113" y="24"/>
                    <a:pt x="94" y="0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sz="240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eingeben</a:t>
            </a:r>
            <a:endParaRPr lang="en-US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5B4D4E7F-F213-44BF-8BFB-3B98D17FDD0B}"/>
              </a:ext>
            </a:extLst>
          </p:cNvPr>
          <p:cNvGrpSpPr/>
          <p:nvPr userDrawn="1"/>
        </p:nvGrpSpPr>
        <p:grpSpPr>
          <a:xfrm>
            <a:off x="-3840000" y="1824569"/>
            <a:ext cx="3360000" cy="3421565"/>
            <a:chOff x="9144000" y="1419149"/>
            <a:chExt cx="2880000" cy="2566174"/>
          </a:xfrm>
          <a:solidFill>
            <a:schemeClr val="accent2"/>
          </a:solidFill>
        </p:grpSpPr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21AE6EB8-90B9-48D9-A023-B49A4BEBF5F1}"/>
                </a:ext>
              </a:extLst>
            </p:cNvPr>
            <p:cNvSpPr txBox="1"/>
            <p:nvPr userDrawn="1"/>
          </p:nvSpPr>
          <p:spPr>
            <a:xfrm flipH="1">
              <a:off x="9144000" y="1419149"/>
              <a:ext cx="2880000" cy="2566174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108000" tIns="54000" rIns="108000" bIns="54000" rtlCol="0">
              <a:spAutoFit/>
            </a:bodyPr>
            <a:lstStyle/>
            <a:p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Texte richtig formatieren:</a:t>
              </a:r>
            </a:p>
            <a:p>
              <a:r>
                <a:rPr lang="de-DE" sz="1133" b="0" kern="600">
                  <a:solidFill>
                    <a:schemeClr val="bg1"/>
                  </a:solidFill>
                  <a:latin typeface="+mn-lt"/>
                </a:rPr>
                <a:t>Texte werden über die »Textebenen« richtig formatiert. Setzen Sie den Cursor in den gewünschten Absatz und wechseln Sie unter </a:t>
              </a:r>
              <a:br>
                <a:rPr lang="de-DE" sz="1133" b="0" kern="600">
                  <a:solidFill>
                    <a:schemeClr val="bg1"/>
                  </a:solidFill>
                  <a:latin typeface="+mn-lt"/>
                </a:rPr>
              </a:br>
              <a:r>
                <a:rPr lang="de-DE" sz="1133" b="0" kern="600">
                  <a:solidFill>
                    <a:schemeClr val="bg1"/>
                  </a:solidFill>
                  <a:latin typeface="+mn-lt"/>
                </a:rPr>
                <a:t>»Start -&gt; Absatz« eine Ebene weiter bzw. zurück.</a:t>
              </a:r>
              <a:br>
                <a:rPr lang="de-DE" sz="1133" b="0" kern="600">
                  <a:solidFill>
                    <a:schemeClr val="bg1"/>
                  </a:solidFill>
                  <a:latin typeface="+mn-lt"/>
                </a:rPr>
              </a:br>
              <a:br>
                <a:rPr lang="de-DE" sz="1133" b="0" kern="600">
                  <a:solidFill>
                    <a:schemeClr val="bg1"/>
                  </a:solidFill>
                  <a:latin typeface="+mn-lt"/>
                </a:rPr>
              </a:br>
              <a:br>
                <a:rPr lang="de-DE" sz="1133" b="0" kern="600">
                  <a:solidFill>
                    <a:schemeClr val="bg1"/>
                  </a:solidFill>
                  <a:latin typeface="+mn-lt"/>
                </a:rPr>
              </a:br>
              <a:br>
                <a:rPr lang="de-DE" sz="1133" b="0" kern="600">
                  <a:solidFill>
                    <a:schemeClr val="bg1"/>
                  </a:solidFill>
                  <a:latin typeface="+mn-lt"/>
                </a:rPr>
              </a:br>
              <a:br>
                <a:rPr lang="de-DE" sz="1133" b="0" kern="600">
                  <a:solidFill>
                    <a:schemeClr val="bg1"/>
                  </a:solidFill>
                  <a:latin typeface="+mn-lt"/>
                </a:rPr>
              </a:br>
              <a:endParaRPr lang="de-DE" sz="1133" b="0" kern="600">
                <a:solidFill>
                  <a:schemeClr val="bg1"/>
                </a:solidFill>
                <a:latin typeface="+mn-lt"/>
              </a:endParaRPr>
            </a:p>
            <a:p>
              <a:endParaRPr lang="de-DE" sz="1133" b="0" kern="600">
                <a:solidFill>
                  <a:schemeClr val="bg1"/>
                </a:solidFill>
                <a:latin typeface="+mn-lt"/>
              </a:endParaRPr>
            </a:p>
            <a:p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Diese Vorgehensweise gilt für</a:t>
              </a:r>
              <a:r>
                <a:rPr lang="de-DE" sz="1133" b="0" kern="600" baseline="0">
                  <a:solidFill>
                    <a:schemeClr val="bg1"/>
                  </a:solidFill>
                  <a:latin typeface="+mj-lt"/>
                </a:rPr>
                <a:t> sämtliche enthaltenen </a:t>
              </a:r>
              <a:r>
                <a:rPr lang="de-DE" sz="1133" b="0" kern="600" baseline="0" err="1">
                  <a:solidFill>
                    <a:schemeClr val="bg1"/>
                  </a:solidFill>
                  <a:latin typeface="+mj-lt"/>
                </a:rPr>
                <a:t>Layoutmaster</a:t>
              </a:r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.</a:t>
              </a:r>
            </a:p>
            <a:p>
              <a:endParaRPr lang="de-DE" sz="1133" b="0" kern="600">
                <a:solidFill>
                  <a:schemeClr val="bg1"/>
                </a:solidFill>
                <a:latin typeface="+mj-lt"/>
              </a:endParaRPr>
            </a:p>
            <a:p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Hier enthalten:</a:t>
              </a:r>
            </a:p>
            <a:p>
              <a:r>
                <a:rPr lang="de-DE" sz="1133" b="0" kern="600">
                  <a:solidFill>
                    <a:schemeClr val="bg1"/>
                  </a:solidFill>
                  <a:latin typeface="+mn-lt"/>
                </a:rPr>
                <a:t>Ebenen</a:t>
              </a:r>
              <a:r>
                <a:rPr lang="de-DE" sz="1133" b="0" kern="600" baseline="0">
                  <a:solidFill>
                    <a:schemeClr val="bg1"/>
                  </a:solidFill>
                  <a:latin typeface="+mn-lt"/>
                </a:rPr>
                <a:t> 1 bis 5 = Auflistungs-Ebenen</a:t>
              </a:r>
            </a:p>
            <a:p>
              <a:r>
                <a:rPr lang="de-DE" sz="1133" b="0" kern="600" baseline="0">
                  <a:solidFill>
                    <a:schemeClr val="bg1"/>
                  </a:solidFill>
                  <a:latin typeface="+mn-lt"/>
                </a:rPr>
                <a:t>Ebene 6 = Untertitel mit Abstand</a:t>
              </a:r>
            </a:p>
            <a:p>
              <a:pPr marL="0" marR="0" lvl="0" indent="0" algn="l" defTabSz="609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133" b="0" kern="600" baseline="0">
                  <a:solidFill>
                    <a:schemeClr val="bg1"/>
                  </a:solidFill>
                  <a:latin typeface="+mn-lt"/>
                </a:rPr>
                <a:t>Ebene 7 = Kleiner Text, fett (Legenden-Titel)</a:t>
              </a:r>
              <a:endParaRPr lang="de-CH" sz="1133" b="0" kern="600">
                <a:solidFill>
                  <a:schemeClr val="bg1"/>
                </a:solidFill>
                <a:latin typeface="+mn-lt"/>
              </a:endParaRPr>
            </a:p>
            <a:p>
              <a:r>
                <a:rPr lang="de-DE" sz="1133" b="0" kern="600" baseline="0">
                  <a:solidFill>
                    <a:schemeClr val="bg1"/>
                  </a:solidFill>
                  <a:latin typeface="+mn-lt"/>
                </a:rPr>
                <a:t>Ebene 8 = Kleiner Text (Legenden)</a:t>
              </a:r>
              <a:endParaRPr lang="de-CH" sz="1133" b="0" kern="600">
                <a:solidFill>
                  <a:schemeClr val="bg1"/>
                </a:solidFill>
                <a:latin typeface="+mn-lt"/>
              </a:endParaRPr>
            </a:p>
          </p:txBody>
        </p:sp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ED1A6524-017D-42FA-A04E-3F12122C255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44799" y="2169871"/>
              <a:ext cx="2521785" cy="638937"/>
            </a:xfrm>
            <a:prstGeom prst="rect">
              <a:avLst/>
            </a:prstGeom>
            <a:grpFill/>
          </p:spPr>
        </p:pic>
      </p:grp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E72B0C4-0971-4902-803B-32B54CC8DDD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4401" y="1824001"/>
            <a:ext cx="10961651" cy="4418051"/>
          </a:xfrm>
        </p:spPr>
        <p:txBody>
          <a:bodyPr/>
          <a:lstStyle>
            <a:lvl1pPr marL="307184" indent="-307184">
              <a:buClr>
                <a:schemeClr val="tx1"/>
              </a:buClr>
              <a:buSzPct val="110000"/>
              <a:buFont typeface="Source Sans Pro Semibold" panose="020B0603030403020204" pitchFamily="34" charset="0"/>
              <a:buChar char="›"/>
              <a:defRPr/>
            </a:lvl1pPr>
            <a:lvl2pPr marL="614370">
              <a:defRPr/>
            </a:lvl2pPr>
            <a:lvl3pPr marL="921554">
              <a:defRPr/>
            </a:lvl3pPr>
            <a:lvl4pPr marL="1228739" indent="-307184">
              <a:buClr>
                <a:schemeClr val="tx1"/>
              </a:buClr>
              <a:buSzPct val="110000"/>
              <a:buFont typeface="Source Sans Pro Semibold" panose="020B0603030403020204" pitchFamily="34" charset="0"/>
              <a:buChar char="›"/>
              <a:defRPr/>
            </a:lvl4pPr>
            <a:lvl5pPr marL="1535924" indent="-307184">
              <a:buClr>
                <a:schemeClr val="tx1"/>
              </a:buClr>
              <a:buSzPct val="110000"/>
              <a:buFont typeface="Source Sans Pro Semibold" panose="020B0603030403020204" pitchFamily="34" charset="0"/>
              <a:buChar char="›"/>
              <a:defRPr/>
            </a:lvl5pPr>
            <a:lvl6pPr>
              <a:defRPr/>
            </a:lvl6pPr>
            <a:lvl8pPr>
              <a:defRPr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5CFAD176-EA8A-4B99-AD7B-D5774BA43A4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13836" y="6417600"/>
            <a:ext cx="9523765" cy="240000"/>
          </a:xfrm>
        </p:spPr>
        <p:txBody>
          <a:bodyPr/>
          <a:lstStyle>
            <a:lvl1pPr algn="l">
              <a:defRPr/>
            </a:lvl1pPr>
          </a:lstStyle>
          <a:p>
            <a:pPr algn="l"/>
            <a:endParaRPr lang="de-CH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283C25A4-6C9B-4849-BF5C-52E4003FF79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84BE2A-AF72-474C-A580-796179F45542}" type="slidenum">
              <a:rPr lang="de-CH" smtClean="0"/>
              <a:pPr/>
              <a:t>‹Nr.›</a:t>
            </a:fld>
            <a:endParaRPr lang="de-CH" kern="600"/>
          </a:p>
        </p:txBody>
      </p:sp>
    </p:spTree>
    <p:extLst>
      <p:ext uri="{BB962C8B-B14F-4D97-AF65-F5344CB8AC3E}">
        <p14:creationId xmlns:p14="http://schemas.microsoft.com/office/powerpoint/2010/main" val="32664334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3 pictur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hteck 31">
            <a:extLst>
              <a:ext uri="{FF2B5EF4-FFF2-40B4-BE49-F238E27FC236}">
                <a16:creationId xmlns:a16="http://schemas.microsoft.com/office/drawing/2014/main" id="{E4206195-4D56-45E2-A8A6-B93360BBC29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1F3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D86E6711-936E-40B2-94FD-400986333C00}"/>
              </a:ext>
            </a:extLst>
          </p:cNvPr>
          <p:cNvSpPr/>
          <p:nvPr userDrawn="1"/>
        </p:nvSpPr>
        <p:spPr>
          <a:xfrm>
            <a:off x="0" y="313268"/>
            <a:ext cx="12192000" cy="8974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E808EC03-21CD-4E93-B43D-C8349D729B2A}"/>
              </a:ext>
            </a:extLst>
          </p:cNvPr>
          <p:cNvSpPr/>
          <p:nvPr userDrawn="1"/>
        </p:nvSpPr>
        <p:spPr>
          <a:xfrm>
            <a:off x="0" y="313268"/>
            <a:ext cx="124800" cy="8974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8E555CA7-2E18-488B-9CD3-7E037894209F}"/>
              </a:ext>
            </a:extLst>
          </p:cNvPr>
          <p:cNvGrpSpPr/>
          <p:nvPr userDrawn="1"/>
        </p:nvGrpSpPr>
        <p:grpSpPr>
          <a:xfrm>
            <a:off x="10136049" y="559792"/>
            <a:ext cx="1440000" cy="404419"/>
            <a:chOff x="-5709525" y="-5645283"/>
            <a:chExt cx="19213689" cy="5396089"/>
          </a:xfrm>
        </p:grpSpPr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26E8E0F9-3D57-493A-87CE-FA47FA91DF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5709525" y="-5645283"/>
              <a:ext cx="19213689" cy="5396089"/>
            </a:xfrm>
            <a:prstGeom prst="rect">
              <a:avLst/>
            </a:prstGeom>
          </p:spPr>
        </p:pic>
        <p:sp>
          <p:nvSpPr>
            <p:cNvPr id="37" name="Freeform 26">
              <a:extLst>
                <a:ext uri="{FF2B5EF4-FFF2-40B4-BE49-F238E27FC236}">
                  <a16:creationId xmlns:a16="http://schemas.microsoft.com/office/drawing/2014/main" id="{9ED849EA-9624-4F9B-B9DE-74B609F1A5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709525" y="-5645283"/>
              <a:ext cx="1287463" cy="1493837"/>
            </a:xfrm>
            <a:custGeom>
              <a:avLst/>
              <a:gdLst>
                <a:gd name="T0" fmla="*/ 86 w 114"/>
                <a:gd name="T1" fmla="*/ 0 h 132"/>
                <a:gd name="T2" fmla="*/ 1 w 114"/>
                <a:gd name="T3" fmla="*/ 20 h 132"/>
                <a:gd name="T4" fmla="*/ 0 w 114"/>
                <a:gd name="T5" fmla="*/ 31 h 132"/>
                <a:gd name="T6" fmla="*/ 31 w 114"/>
                <a:gd name="T7" fmla="*/ 132 h 132"/>
                <a:gd name="T8" fmla="*/ 114 w 114"/>
                <a:gd name="T9" fmla="*/ 115 h 132"/>
                <a:gd name="T10" fmla="*/ 114 w 114"/>
                <a:gd name="T11" fmla="*/ 106 h 132"/>
                <a:gd name="T12" fmla="*/ 94 w 114"/>
                <a:gd name="T13" fmla="*/ 0 h 132"/>
                <a:gd name="T14" fmla="*/ 86 w 114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32">
                  <a:moveTo>
                    <a:pt x="86" y="0"/>
                  </a:moveTo>
                  <a:cubicBezTo>
                    <a:pt x="52" y="0"/>
                    <a:pt x="25" y="8"/>
                    <a:pt x="1" y="20"/>
                  </a:cubicBezTo>
                  <a:cubicBezTo>
                    <a:pt x="1" y="23"/>
                    <a:pt x="0" y="25"/>
                    <a:pt x="0" y="31"/>
                  </a:cubicBezTo>
                  <a:cubicBezTo>
                    <a:pt x="0" y="56"/>
                    <a:pt x="18" y="102"/>
                    <a:pt x="31" y="132"/>
                  </a:cubicBezTo>
                  <a:cubicBezTo>
                    <a:pt x="56" y="132"/>
                    <a:pt x="92" y="125"/>
                    <a:pt x="114" y="115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81"/>
                    <a:pt x="113" y="24"/>
                    <a:pt x="94" y="0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sz="240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eingeben</a:t>
            </a:r>
            <a:endParaRPr lang="en-US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BB891EF0-9A2C-40F1-A333-9199228FED3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13831" y="1824565"/>
            <a:ext cx="3652800" cy="2256369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algn="ctr">
              <a:lnSpc>
                <a:spcPts val="2067"/>
              </a:lnSpc>
              <a:spcBef>
                <a:spcPts val="0"/>
              </a:spcBef>
              <a:defRPr sz="1533" baseline="0">
                <a:latin typeface="+mj-lt"/>
              </a:defRPr>
            </a:lvl1pPr>
          </a:lstStyle>
          <a:p>
            <a:r>
              <a:rPr lang="de-CH"/>
              <a:t>Klicken Sie auf das Bild-Symbol in der Mitte um ein Bild hier zu platzieren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2BA4C121-BDE0-4DF7-83FA-79277A5CB2CB}"/>
              </a:ext>
            </a:extLst>
          </p:cNvPr>
          <p:cNvSpPr txBox="1"/>
          <p:nvPr userDrawn="1"/>
        </p:nvSpPr>
        <p:spPr>
          <a:xfrm>
            <a:off x="-3840000" y="4171202"/>
            <a:ext cx="3360000" cy="1540147"/>
          </a:xfrm>
          <a:prstGeom prst="rect">
            <a:avLst/>
          </a:prstGeom>
          <a:solidFill>
            <a:schemeClr val="accent2"/>
          </a:solidFill>
        </p:spPr>
        <p:txBody>
          <a:bodyPr wrap="square" lIns="144000" tIns="72000" rIns="144000" bIns="72000" rtlCol="0">
            <a:spAutoFit/>
          </a:bodyPr>
          <a:lstStyle/>
          <a:p>
            <a:r>
              <a:rPr lang="de-DE" sz="1133" b="0" kern="600">
                <a:solidFill>
                  <a:schemeClr val="bg1"/>
                </a:solidFill>
                <a:latin typeface="+mj-lt"/>
              </a:rPr>
              <a:t>Enthaltene Textebenen:</a:t>
            </a:r>
          </a:p>
          <a:p>
            <a:r>
              <a:rPr lang="de-DE" sz="1133" b="0" kern="600">
                <a:solidFill>
                  <a:schemeClr val="bg1"/>
                </a:solidFill>
                <a:latin typeface="+mn-lt"/>
              </a:rPr>
              <a:t>Ebene</a:t>
            </a: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 1 = Titel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2 = Auflist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3 = Auflist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4 = Nummerier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5 = Nummerier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6 = Untertitel mit Abstand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7 = Legende</a:t>
            </a: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726F897D-DEC3-48A9-85BB-D4B69C2391E6}"/>
              </a:ext>
            </a:extLst>
          </p:cNvPr>
          <p:cNvGrpSpPr/>
          <p:nvPr userDrawn="1"/>
        </p:nvGrpSpPr>
        <p:grpSpPr>
          <a:xfrm flipH="1">
            <a:off x="-3840000" y="313268"/>
            <a:ext cx="3360000" cy="3770250"/>
            <a:chOff x="-2880000" y="1428750"/>
            <a:chExt cx="2520000" cy="2827687"/>
          </a:xfrm>
        </p:grpSpPr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34C64702-85E3-443E-BF9D-36A0D33E46B4}"/>
                </a:ext>
              </a:extLst>
            </p:cNvPr>
            <p:cNvSpPr txBox="1"/>
            <p:nvPr userDrawn="1"/>
          </p:nvSpPr>
          <p:spPr>
            <a:xfrm flipH="1">
              <a:off x="-2880000" y="1428750"/>
              <a:ext cx="2520000" cy="2827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108000" tIns="54000" rIns="108000" bIns="54000" rtlCol="0">
              <a:spAutoFit/>
            </a:bodyPr>
            <a:lstStyle/>
            <a:p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Bilder einfügen:</a:t>
              </a:r>
            </a:p>
            <a:p>
              <a:pPr marL="153592" indent="-153592">
                <a:buAutoNum type="arabicPeriod"/>
              </a:pPr>
              <a:r>
                <a:rPr lang="de-DE" sz="1133" b="0" kern="600" baseline="0">
                  <a:solidFill>
                    <a:schemeClr val="bg1"/>
                  </a:solidFill>
                </a:rPr>
                <a:t>Löschen Sie das ggf. bereits vorhandene Bild</a:t>
              </a:r>
            </a:p>
            <a:p>
              <a:pPr marL="153592" indent="-153592">
                <a:buAutoNum type="arabicPeriod"/>
              </a:pPr>
              <a:r>
                <a:rPr lang="de-DE" sz="1133" b="0" kern="600" baseline="0">
                  <a:solidFill>
                    <a:schemeClr val="bg1"/>
                  </a:solidFill>
                </a:rPr>
                <a:t>Klicken Sie auf das Bild-Symbol in der Mitte </a:t>
              </a:r>
              <a:br>
                <a:rPr lang="de-DE" sz="1133" b="0" kern="600" baseline="0">
                  <a:solidFill>
                    <a:schemeClr val="bg1"/>
                  </a:solidFill>
                </a:rPr>
              </a:br>
              <a:r>
                <a:rPr lang="de-DE" sz="1133" b="0" kern="600" baseline="0">
                  <a:solidFill>
                    <a:schemeClr val="bg1"/>
                  </a:solidFill>
                </a:rPr>
                <a:t>des Platzhalters</a:t>
              </a: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r>
                <a:rPr lang="de-DE" sz="1133" b="0" kern="600" baseline="0">
                  <a:solidFill>
                    <a:schemeClr val="bg1"/>
                  </a:solidFill>
                </a:rPr>
                <a:t>Nachdem Sie Ihr Bild platziert haben, können Sie es über »Bildtools -&gt; Zuschneiden« innerhalb der hier definierten »</a:t>
              </a:r>
              <a:r>
                <a:rPr lang="de-DE" sz="1133" b="0" kern="600" baseline="0" err="1">
                  <a:solidFill>
                    <a:schemeClr val="bg1"/>
                  </a:solidFill>
                </a:rPr>
                <a:t>Bildbox</a:t>
              </a:r>
              <a:r>
                <a:rPr lang="de-DE" sz="1133" b="0" kern="600" baseline="0">
                  <a:solidFill>
                    <a:schemeClr val="bg1"/>
                  </a:solidFill>
                </a:rPr>
                <a:t>« verschieben und/oder beschneiden. Die enthaltenen Hilfslinien helfen bei der richtigen Positionierung.</a:t>
              </a:r>
              <a:r>
                <a:rPr lang="de-CH" sz="1133" b="0" kern="600" baseline="0">
                  <a:solidFill>
                    <a:schemeClr val="bg1"/>
                  </a:solidFill>
                </a:rPr>
                <a:t> Durch Klicken auf »Einpassen« wird das Bild passend skaliert.</a:t>
              </a: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95B5EB24-2D14-43AA-88D7-7A4C16AE068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p:blipFill>
          <p:spPr>
            <a:xfrm flipH="1">
              <a:off x="-1589225" y="3001763"/>
              <a:ext cx="1088246" cy="1143924"/>
            </a:xfrm>
            <a:prstGeom prst="rect">
              <a:avLst/>
            </a:prstGeom>
          </p:spPr>
        </p:pic>
      </p:grp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8C1F4-CC17-4179-ABF6-E1748E66AC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3829" y="4080933"/>
            <a:ext cx="3653371" cy="2161119"/>
          </a:xfrm>
        </p:spPr>
        <p:txBody>
          <a:bodyPr tIns="201600" rIns="144000"/>
          <a:lstStyle>
            <a:lvl1pPr>
              <a:lnSpc>
                <a:spcPts val="2067"/>
              </a:lnSpc>
              <a:spcBef>
                <a:spcPts val="0"/>
              </a:spcBef>
              <a:defRPr sz="1533">
                <a:latin typeface="+mj-lt"/>
              </a:defRPr>
            </a:lvl1pPr>
            <a:lvl2pPr marL="153592" indent="-153592">
              <a:lnSpc>
                <a:spcPts val="2067"/>
              </a:lnSpc>
              <a:spcBef>
                <a:spcPts val="0"/>
              </a:spcBef>
              <a:defRPr sz="1533"/>
            </a:lvl2pPr>
            <a:lvl3pPr marL="307184" indent="-153592">
              <a:lnSpc>
                <a:spcPts val="2067"/>
              </a:lnSpc>
              <a:spcBef>
                <a:spcPts val="0"/>
              </a:spcBef>
              <a:defRPr sz="1533"/>
            </a:lvl3pPr>
            <a:lvl4pPr marL="307184" indent="-307184">
              <a:lnSpc>
                <a:spcPts val="2067"/>
              </a:lnSpc>
              <a:spcBef>
                <a:spcPts val="0"/>
              </a:spcBef>
              <a:defRPr sz="1533"/>
            </a:lvl4pPr>
            <a:lvl5pPr marL="614370" indent="-307184">
              <a:lnSpc>
                <a:spcPts val="2067"/>
              </a:lnSpc>
              <a:spcBef>
                <a:spcPts val="0"/>
              </a:spcBef>
              <a:defRPr sz="1533"/>
            </a:lvl5pPr>
            <a:lvl6pPr>
              <a:lnSpc>
                <a:spcPts val="2067"/>
              </a:lnSpc>
              <a:spcBef>
                <a:spcPts val="1033"/>
              </a:spcBef>
              <a:defRPr sz="1533"/>
            </a:lvl6pPr>
            <a:lvl7pPr>
              <a:defRPr>
                <a:latin typeface="+mn-lt"/>
              </a:defRPr>
            </a:lvl7pPr>
            <a:lvl8pPr>
              <a:defRPr/>
            </a:lvl8pPr>
            <a:lvl9pPr>
              <a:lnSpc>
                <a:spcPts val="2067"/>
              </a:lnSpc>
              <a:defRPr sz="153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E30AEC71-0B9E-4AEE-B4FE-6E6CD758ABA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924800" y="1824565"/>
            <a:ext cx="3653371" cy="2256369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algn="ctr">
              <a:lnSpc>
                <a:spcPts val="2067"/>
              </a:lnSpc>
              <a:spcBef>
                <a:spcPts val="0"/>
              </a:spcBef>
              <a:defRPr sz="1533" baseline="0">
                <a:latin typeface="+mj-lt"/>
              </a:defRPr>
            </a:lvl1pPr>
          </a:lstStyle>
          <a:p>
            <a:r>
              <a:rPr lang="de-CH"/>
              <a:t>Klicken Sie auf das Bild-Symbol in der Mitte um ein Bild hier zu platzieren</a:t>
            </a:r>
          </a:p>
        </p:txBody>
      </p:sp>
      <p:sp>
        <p:nvSpPr>
          <p:cNvPr id="21" name="Textplatzhalter 5">
            <a:extLst>
              <a:ext uri="{FF2B5EF4-FFF2-40B4-BE49-F238E27FC236}">
                <a16:creationId xmlns:a16="http://schemas.microsoft.com/office/drawing/2014/main" id="{68EAAC17-5F84-4B63-B90D-85591A1828E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924800" y="4080933"/>
            <a:ext cx="3652800" cy="2161119"/>
          </a:xfrm>
        </p:spPr>
        <p:txBody>
          <a:bodyPr tIns="201600" rIns="144000"/>
          <a:lstStyle>
            <a:lvl1pPr>
              <a:lnSpc>
                <a:spcPts val="2067"/>
              </a:lnSpc>
              <a:spcBef>
                <a:spcPts val="0"/>
              </a:spcBef>
              <a:defRPr sz="1533">
                <a:latin typeface="+mj-lt"/>
              </a:defRPr>
            </a:lvl1pPr>
            <a:lvl2pPr marL="153592" indent="-153592">
              <a:lnSpc>
                <a:spcPts val="2067"/>
              </a:lnSpc>
              <a:spcBef>
                <a:spcPts val="0"/>
              </a:spcBef>
              <a:defRPr sz="1533"/>
            </a:lvl2pPr>
            <a:lvl3pPr marL="307184" indent="-153592">
              <a:lnSpc>
                <a:spcPts val="2067"/>
              </a:lnSpc>
              <a:spcBef>
                <a:spcPts val="0"/>
              </a:spcBef>
              <a:defRPr sz="1533"/>
            </a:lvl3pPr>
            <a:lvl4pPr marL="307184" indent="-307184">
              <a:lnSpc>
                <a:spcPts val="2067"/>
              </a:lnSpc>
              <a:spcBef>
                <a:spcPts val="0"/>
              </a:spcBef>
              <a:defRPr sz="1533"/>
            </a:lvl4pPr>
            <a:lvl5pPr marL="614370" indent="-307184">
              <a:lnSpc>
                <a:spcPts val="2067"/>
              </a:lnSpc>
              <a:spcBef>
                <a:spcPts val="0"/>
              </a:spcBef>
              <a:defRPr sz="1533"/>
            </a:lvl5pPr>
            <a:lvl6pPr>
              <a:lnSpc>
                <a:spcPts val="2067"/>
              </a:lnSpc>
              <a:spcBef>
                <a:spcPts val="1033"/>
              </a:spcBef>
              <a:defRPr sz="1533"/>
            </a:lvl6pPr>
            <a:lvl7pPr>
              <a:defRPr>
                <a:latin typeface="+mn-lt"/>
              </a:defRPr>
            </a:lvl7pPr>
            <a:lvl8pPr>
              <a:defRPr/>
            </a:lvl8pPr>
            <a:lvl9pPr>
              <a:lnSpc>
                <a:spcPts val="2067"/>
              </a:lnSpc>
              <a:defRPr sz="153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22" name="Bildplatzhalter 6">
            <a:extLst>
              <a:ext uri="{FF2B5EF4-FFF2-40B4-BE49-F238E27FC236}">
                <a16:creationId xmlns:a16="http://schemas.microsoft.com/office/drawing/2014/main" id="{06716F2B-B3CC-404D-A5B7-451F2AF1781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266631" y="1824565"/>
            <a:ext cx="3658168" cy="2256369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algn="ctr">
              <a:lnSpc>
                <a:spcPts val="2067"/>
              </a:lnSpc>
              <a:spcBef>
                <a:spcPts val="0"/>
              </a:spcBef>
              <a:defRPr sz="1533" baseline="0">
                <a:latin typeface="+mj-lt"/>
              </a:defRPr>
            </a:lvl1pPr>
          </a:lstStyle>
          <a:p>
            <a:r>
              <a:rPr lang="de-CH"/>
              <a:t>Klicken Sie auf das Bild-Symbol in der Mitte um ein Bild hier zu platzieren</a:t>
            </a:r>
          </a:p>
        </p:txBody>
      </p:sp>
      <p:sp>
        <p:nvSpPr>
          <p:cNvPr id="23" name="Textplatzhalter 5">
            <a:extLst>
              <a:ext uri="{FF2B5EF4-FFF2-40B4-BE49-F238E27FC236}">
                <a16:creationId xmlns:a16="http://schemas.microsoft.com/office/drawing/2014/main" id="{E40DA43F-CD18-489E-A619-29289D8144B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67199" y="4080933"/>
            <a:ext cx="3657600" cy="2161119"/>
          </a:xfrm>
        </p:spPr>
        <p:txBody>
          <a:bodyPr tIns="201600" rIns="144000"/>
          <a:lstStyle>
            <a:lvl1pPr>
              <a:lnSpc>
                <a:spcPts val="2067"/>
              </a:lnSpc>
              <a:spcBef>
                <a:spcPts val="0"/>
              </a:spcBef>
              <a:defRPr sz="1533">
                <a:latin typeface="+mj-lt"/>
              </a:defRPr>
            </a:lvl1pPr>
            <a:lvl2pPr marL="153592" indent="-153592">
              <a:lnSpc>
                <a:spcPts val="2067"/>
              </a:lnSpc>
              <a:spcBef>
                <a:spcPts val="0"/>
              </a:spcBef>
              <a:defRPr sz="1533"/>
            </a:lvl2pPr>
            <a:lvl3pPr marL="307184" indent="-153592">
              <a:lnSpc>
                <a:spcPts val="2067"/>
              </a:lnSpc>
              <a:spcBef>
                <a:spcPts val="0"/>
              </a:spcBef>
              <a:defRPr sz="1533"/>
            </a:lvl3pPr>
            <a:lvl4pPr marL="307184" indent="-307184">
              <a:lnSpc>
                <a:spcPts val="2067"/>
              </a:lnSpc>
              <a:spcBef>
                <a:spcPts val="0"/>
              </a:spcBef>
              <a:defRPr sz="1533"/>
            </a:lvl4pPr>
            <a:lvl5pPr marL="614370" indent="-307184">
              <a:lnSpc>
                <a:spcPts val="2067"/>
              </a:lnSpc>
              <a:spcBef>
                <a:spcPts val="0"/>
              </a:spcBef>
              <a:defRPr sz="1533"/>
            </a:lvl5pPr>
            <a:lvl6pPr>
              <a:lnSpc>
                <a:spcPts val="2067"/>
              </a:lnSpc>
              <a:spcBef>
                <a:spcPts val="1033"/>
              </a:spcBef>
              <a:defRPr sz="1533"/>
            </a:lvl6pPr>
            <a:lvl7pPr>
              <a:defRPr>
                <a:latin typeface="+mn-lt"/>
              </a:defRPr>
            </a:lvl7pPr>
            <a:lvl8pPr>
              <a:defRPr/>
            </a:lvl8pPr>
            <a:lvl9pPr>
              <a:lnSpc>
                <a:spcPts val="2067"/>
              </a:lnSpc>
              <a:defRPr sz="153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28" name="Fußzeilenplatzhalter 27">
            <a:extLst>
              <a:ext uri="{FF2B5EF4-FFF2-40B4-BE49-F238E27FC236}">
                <a16:creationId xmlns:a16="http://schemas.microsoft.com/office/drawing/2014/main" id="{4AB2EA0E-845C-4290-8413-9B0A56D9AA1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613829" y="6417600"/>
            <a:ext cx="9523771" cy="240000"/>
          </a:xfrm>
        </p:spPr>
        <p:txBody>
          <a:bodyPr/>
          <a:lstStyle>
            <a:lvl1pPr algn="l">
              <a:defRPr/>
            </a:lvl1pPr>
          </a:lstStyle>
          <a:p>
            <a:pPr algn="l"/>
            <a:endParaRPr lang="de-CH"/>
          </a:p>
        </p:txBody>
      </p:sp>
      <p:sp>
        <p:nvSpPr>
          <p:cNvPr id="29" name="Foliennummernplatzhalter 28">
            <a:extLst>
              <a:ext uri="{FF2B5EF4-FFF2-40B4-BE49-F238E27FC236}">
                <a16:creationId xmlns:a16="http://schemas.microsoft.com/office/drawing/2014/main" id="{2818F05B-0918-4643-AA95-7656F3A900A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5B84BE2A-AF72-474C-A580-796179F45542}" type="slidenum">
              <a:rPr lang="de-CH" smtClean="0"/>
              <a:pPr/>
              <a:t>‹Nr.›</a:t>
            </a:fld>
            <a:endParaRPr lang="de-CH" kern="600"/>
          </a:p>
        </p:txBody>
      </p:sp>
    </p:spTree>
    <p:extLst>
      <p:ext uri="{BB962C8B-B14F-4D97-AF65-F5344CB8AC3E}">
        <p14:creationId xmlns:p14="http://schemas.microsoft.com/office/powerpoint/2010/main" val="2826494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51">
          <p15:clr>
            <a:srgbClr val="A4A3A4"/>
          </p15:clr>
        </p15:guide>
        <p15:guide id="2" orient="horz" pos="1928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pictur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>
            <a:extLst>
              <a:ext uri="{FF2B5EF4-FFF2-40B4-BE49-F238E27FC236}">
                <a16:creationId xmlns:a16="http://schemas.microsoft.com/office/drawing/2014/main" id="{8415BB38-1FA2-4337-9FED-3AB46A689FD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1F3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9465B5D-F86F-4A5A-B3AB-0CD7A7D91A2E}"/>
              </a:ext>
            </a:extLst>
          </p:cNvPr>
          <p:cNvSpPr/>
          <p:nvPr userDrawn="1"/>
        </p:nvSpPr>
        <p:spPr>
          <a:xfrm>
            <a:off x="0" y="313268"/>
            <a:ext cx="12192000" cy="8974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AEAB81F7-1A0C-42BB-8819-865D1F87C348}"/>
              </a:ext>
            </a:extLst>
          </p:cNvPr>
          <p:cNvSpPr/>
          <p:nvPr userDrawn="1"/>
        </p:nvSpPr>
        <p:spPr>
          <a:xfrm>
            <a:off x="0" y="313268"/>
            <a:ext cx="124800" cy="8974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F8E602B2-6CFA-4730-A25E-02520E57104F}"/>
              </a:ext>
            </a:extLst>
          </p:cNvPr>
          <p:cNvGrpSpPr/>
          <p:nvPr userDrawn="1"/>
        </p:nvGrpSpPr>
        <p:grpSpPr>
          <a:xfrm>
            <a:off x="10136049" y="559792"/>
            <a:ext cx="1440000" cy="404419"/>
            <a:chOff x="-5709525" y="-5645283"/>
            <a:chExt cx="19213689" cy="5396089"/>
          </a:xfrm>
        </p:grpSpPr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0E006610-68D4-49DC-836C-F686EAEEE2B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5709525" y="-5645283"/>
              <a:ext cx="19213689" cy="5396089"/>
            </a:xfrm>
            <a:prstGeom prst="rect">
              <a:avLst/>
            </a:prstGeom>
          </p:spPr>
        </p:pic>
        <p:sp>
          <p:nvSpPr>
            <p:cNvPr id="32" name="Freeform 26">
              <a:extLst>
                <a:ext uri="{FF2B5EF4-FFF2-40B4-BE49-F238E27FC236}">
                  <a16:creationId xmlns:a16="http://schemas.microsoft.com/office/drawing/2014/main" id="{74F05BC3-B1AF-46E3-8C2A-A6893FB832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709525" y="-5645283"/>
              <a:ext cx="1287463" cy="1493837"/>
            </a:xfrm>
            <a:custGeom>
              <a:avLst/>
              <a:gdLst>
                <a:gd name="T0" fmla="*/ 86 w 114"/>
                <a:gd name="T1" fmla="*/ 0 h 132"/>
                <a:gd name="T2" fmla="*/ 1 w 114"/>
                <a:gd name="T3" fmla="*/ 20 h 132"/>
                <a:gd name="T4" fmla="*/ 0 w 114"/>
                <a:gd name="T5" fmla="*/ 31 h 132"/>
                <a:gd name="T6" fmla="*/ 31 w 114"/>
                <a:gd name="T7" fmla="*/ 132 h 132"/>
                <a:gd name="T8" fmla="*/ 114 w 114"/>
                <a:gd name="T9" fmla="*/ 115 h 132"/>
                <a:gd name="T10" fmla="*/ 114 w 114"/>
                <a:gd name="T11" fmla="*/ 106 h 132"/>
                <a:gd name="T12" fmla="*/ 94 w 114"/>
                <a:gd name="T13" fmla="*/ 0 h 132"/>
                <a:gd name="T14" fmla="*/ 86 w 114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32">
                  <a:moveTo>
                    <a:pt x="86" y="0"/>
                  </a:moveTo>
                  <a:cubicBezTo>
                    <a:pt x="52" y="0"/>
                    <a:pt x="25" y="8"/>
                    <a:pt x="1" y="20"/>
                  </a:cubicBezTo>
                  <a:cubicBezTo>
                    <a:pt x="1" y="23"/>
                    <a:pt x="0" y="25"/>
                    <a:pt x="0" y="31"/>
                  </a:cubicBezTo>
                  <a:cubicBezTo>
                    <a:pt x="0" y="56"/>
                    <a:pt x="18" y="102"/>
                    <a:pt x="31" y="132"/>
                  </a:cubicBezTo>
                  <a:cubicBezTo>
                    <a:pt x="56" y="132"/>
                    <a:pt x="92" y="125"/>
                    <a:pt x="114" y="115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81"/>
                    <a:pt x="113" y="24"/>
                    <a:pt x="94" y="0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sz="240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eingeben</a:t>
            </a:r>
            <a:endParaRPr lang="en-US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BB891EF0-9A2C-40F1-A333-9199228FED3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13832" y="1824565"/>
            <a:ext cx="5482169" cy="2256369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ts val="2067"/>
              </a:lnSpc>
              <a:spcBef>
                <a:spcPts val="0"/>
              </a:spcBef>
              <a:defRPr sz="1533" baseline="0">
                <a:latin typeface="+mj-lt"/>
              </a:defRPr>
            </a:lvl1pPr>
          </a:lstStyle>
          <a:p>
            <a:r>
              <a:rPr lang="de-CH"/>
              <a:t>Klicken Sie auf das Bild-Symbol in der Mitte um ein Bild hier zu platzieren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2BA4C121-BDE0-4DF7-83FA-79277A5CB2CB}"/>
              </a:ext>
            </a:extLst>
          </p:cNvPr>
          <p:cNvSpPr txBox="1"/>
          <p:nvPr userDrawn="1"/>
        </p:nvSpPr>
        <p:spPr>
          <a:xfrm>
            <a:off x="-3840000" y="4171202"/>
            <a:ext cx="3360000" cy="1540147"/>
          </a:xfrm>
          <a:prstGeom prst="rect">
            <a:avLst/>
          </a:prstGeom>
          <a:solidFill>
            <a:schemeClr val="accent2"/>
          </a:solidFill>
        </p:spPr>
        <p:txBody>
          <a:bodyPr wrap="square" lIns="144000" tIns="72000" rIns="144000" bIns="72000" rtlCol="0">
            <a:spAutoFit/>
          </a:bodyPr>
          <a:lstStyle/>
          <a:p>
            <a:r>
              <a:rPr lang="de-DE" sz="1133" b="0" kern="600">
                <a:solidFill>
                  <a:schemeClr val="bg1"/>
                </a:solidFill>
                <a:latin typeface="+mj-lt"/>
              </a:rPr>
              <a:t>Enthaltene Textebenen:</a:t>
            </a:r>
          </a:p>
          <a:p>
            <a:r>
              <a:rPr lang="de-DE" sz="1133" b="0" kern="600">
                <a:solidFill>
                  <a:schemeClr val="bg1"/>
                </a:solidFill>
                <a:latin typeface="+mn-lt"/>
              </a:rPr>
              <a:t>Ebene</a:t>
            </a: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 1 = Titel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2 = Auflist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3 = Auflist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4 = Nummerier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5 = Nummerier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6 = Untertitel mit Abstand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7 = Legend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8C1F4-CC17-4179-ABF6-E1748E66AC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3830" y="4080933"/>
            <a:ext cx="5482169" cy="2161119"/>
          </a:xfrm>
        </p:spPr>
        <p:txBody>
          <a:bodyPr tIns="201600" rIns="144000"/>
          <a:lstStyle>
            <a:lvl1pPr>
              <a:lnSpc>
                <a:spcPts val="2067"/>
              </a:lnSpc>
              <a:spcBef>
                <a:spcPts val="0"/>
              </a:spcBef>
              <a:defRPr sz="1533">
                <a:latin typeface="+mj-lt"/>
              </a:defRPr>
            </a:lvl1pPr>
            <a:lvl2pPr marL="153592" indent="-153592">
              <a:lnSpc>
                <a:spcPts val="2067"/>
              </a:lnSpc>
              <a:spcBef>
                <a:spcPts val="0"/>
              </a:spcBef>
              <a:defRPr sz="1533"/>
            </a:lvl2pPr>
            <a:lvl3pPr marL="307184" indent="-153592">
              <a:lnSpc>
                <a:spcPts val="2067"/>
              </a:lnSpc>
              <a:spcBef>
                <a:spcPts val="0"/>
              </a:spcBef>
              <a:defRPr sz="1533"/>
            </a:lvl3pPr>
            <a:lvl4pPr marL="307184" indent="-307184">
              <a:lnSpc>
                <a:spcPts val="2067"/>
              </a:lnSpc>
              <a:spcBef>
                <a:spcPts val="0"/>
              </a:spcBef>
              <a:defRPr sz="1533"/>
            </a:lvl4pPr>
            <a:lvl5pPr marL="614370" indent="-307184">
              <a:lnSpc>
                <a:spcPts val="2067"/>
              </a:lnSpc>
              <a:spcBef>
                <a:spcPts val="0"/>
              </a:spcBef>
              <a:defRPr sz="1533"/>
            </a:lvl5pPr>
            <a:lvl6pPr>
              <a:lnSpc>
                <a:spcPts val="2067"/>
              </a:lnSpc>
              <a:spcBef>
                <a:spcPts val="1033"/>
              </a:spcBef>
              <a:defRPr sz="1533"/>
            </a:lvl6pPr>
            <a:lvl7pPr>
              <a:defRPr>
                <a:latin typeface="+mn-lt"/>
              </a:defRPr>
            </a:lvl7pPr>
            <a:lvl8pPr>
              <a:defRPr/>
            </a:lvl8pPr>
            <a:lvl9pPr>
              <a:lnSpc>
                <a:spcPts val="2067"/>
              </a:lnSpc>
              <a:defRPr sz="153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E30AEC71-0B9E-4AEE-B4FE-6E6CD758ABA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2" y="1824565"/>
            <a:ext cx="5482169" cy="2256369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ts val="2067"/>
              </a:lnSpc>
              <a:spcBef>
                <a:spcPts val="0"/>
              </a:spcBef>
              <a:defRPr sz="1533" baseline="0">
                <a:latin typeface="+mj-lt"/>
              </a:defRPr>
            </a:lvl1pPr>
          </a:lstStyle>
          <a:p>
            <a:r>
              <a:rPr lang="de-CH"/>
              <a:t>Klicken Sie auf das Bild-Symbol in der Mitte um ein Bild hier zu platzieren</a:t>
            </a:r>
          </a:p>
        </p:txBody>
      </p:sp>
      <p:sp>
        <p:nvSpPr>
          <p:cNvPr id="21" name="Textplatzhalter 5">
            <a:extLst>
              <a:ext uri="{FF2B5EF4-FFF2-40B4-BE49-F238E27FC236}">
                <a16:creationId xmlns:a16="http://schemas.microsoft.com/office/drawing/2014/main" id="{68EAAC17-5F84-4B63-B90D-85591A1828E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2" y="4080933"/>
            <a:ext cx="5482169" cy="2161119"/>
          </a:xfrm>
        </p:spPr>
        <p:txBody>
          <a:bodyPr tIns="201600" rIns="144000"/>
          <a:lstStyle>
            <a:lvl1pPr>
              <a:lnSpc>
                <a:spcPts val="2067"/>
              </a:lnSpc>
              <a:spcBef>
                <a:spcPts val="0"/>
              </a:spcBef>
              <a:defRPr sz="1533">
                <a:latin typeface="+mj-lt"/>
              </a:defRPr>
            </a:lvl1pPr>
            <a:lvl2pPr marL="153592" indent="-153592">
              <a:lnSpc>
                <a:spcPts val="2067"/>
              </a:lnSpc>
              <a:spcBef>
                <a:spcPts val="0"/>
              </a:spcBef>
              <a:defRPr sz="1533"/>
            </a:lvl2pPr>
            <a:lvl3pPr marL="307184" indent="-153592">
              <a:lnSpc>
                <a:spcPts val="2067"/>
              </a:lnSpc>
              <a:spcBef>
                <a:spcPts val="0"/>
              </a:spcBef>
              <a:defRPr sz="1533"/>
            </a:lvl3pPr>
            <a:lvl4pPr marL="307184" indent="-307184">
              <a:lnSpc>
                <a:spcPts val="2067"/>
              </a:lnSpc>
              <a:spcBef>
                <a:spcPts val="0"/>
              </a:spcBef>
              <a:defRPr sz="1533"/>
            </a:lvl4pPr>
            <a:lvl5pPr marL="614370" indent="-307184">
              <a:lnSpc>
                <a:spcPts val="2067"/>
              </a:lnSpc>
              <a:spcBef>
                <a:spcPts val="0"/>
              </a:spcBef>
              <a:defRPr sz="1533"/>
            </a:lvl5pPr>
            <a:lvl6pPr>
              <a:lnSpc>
                <a:spcPts val="2067"/>
              </a:lnSpc>
              <a:spcBef>
                <a:spcPts val="1033"/>
              </a:spcBef>
              <a:defRPr sz="1533"/>
            </a:lvl6pPr>
            <a:lvl7pPr>
              <a:defRPr>
                <a:latin typeface="+mn-lt"/>
              </a:defRPr>
            </a:lvl7pPr>
            <a:lvl8pPr>
              <a:defRPr/>
            </a:lvl8pPr>
            <a:lvl9pPr>
              <a:lnSpc>
                <a:spcPts val="2067"/>
              </a:lnSpc>
              <a:defRPr sz="153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9756A05F-9E93-449F-AFC4-5334E6434E0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13835" y="6417600"/>
            <a:ext cx="9523767" cy="240000"/>
          </a:xfrm>
        </p:spPr>
        <p:txBody>
          <a:bodyPr/>
          <a:lstStyle>
            <a:lvl1pPr algn="l">
              <a:defRPr/>
            </a:lvl1pPr>
          </a:lstStyle>
          <a:p>
            <a:pPr algn="l"/>
            <a:endParaRPr lang="de-CH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41E153F-68A3-4DFD-91D8-47F0E64EC5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5B84BE2A-AF72-474C-A580-796179F45542}" type="slidenum">
              <a:rPr lang="de-CH" smtClean="0"/>
              <a:pPr/>
              <a:t>‹Nr.›</a:t>
            </a:fld>
            <a:endParaRPr lang="de-CH" kern="600"/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1F792D84-EB8B-4C40-8AB2-94C4A3E52127}"/>
              </a:ext>
            </a:extLst>
          </p:cNvPr>
          <p:cNvGrpSpPr/>
          <p:nvPr userDrawn="1"/>
        </p:nvGrpSpPr>
        <p:grpSpPr>
          <a:xfrm flipH="1">
            <a:off x="-3840000" y="313268"/>
            <a:ext cx="3360000" cy="3770250"/>
            <a:chOff x="-2880000" y="1428750"/>
            <a:chExt cx="2520000" cy="2827687"/>
          </a:xfrm>
        </p:grpSpPr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28BA7F4D-795F-427A-8A05-218C671825E8}"/>
                </a:ext>
              </a:extLst>
            </p:cNvPr>
            <p:cNvSpPr txBox="1"/>
            <p:nvPr userDrawn="1"/>
          </p:nvSpPr>
          <p:spPr>
            <a:xfrm flipH="1">
              <a:off x="-2880000" y="1428750"/>
              <a:ext cx="2520000" cy="2827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108000" tIns="54000" rIns="108000" bIns="54000" rtlCol="0">
              <a:spAutoFit/>
            </a:bodyPr>
            <a:lstStyle/>
            <a:p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Bilder einfügen:</a:t>
              </a:r>
            </a:p>
            <a:p>
              <a:pPr marL="153592" indent="-153592">
                <a:buAutoNum type="arabicPeriod"/>
              </a:pPr>
              <a:r>
                <a:rPr lang="de-DE" sz="1133" b="0" kern="600" baseline="0">
                  <a:solidFill>
                    <a:schemeClr val="bg1"/>
                  </a:solidFill>
                </a:rPr>
                <a:t>Löschen Sie das ggf. bereits vorhandene Bild</a:t>
              </a:r>
            </a:p>
            <a:p>
              <a:pPr marL="153592" indent="-153592">
                <a:buAutoNum type="arabicPeriod"/>
              </a:pPr>
              <a:r>
                <a:rPr lang="de-DE" sz="1133" b="0" kern="600" baseline="0">
                  <a:solidFill>
                    <a:schemeClr val="bg1"/>
                  </a:solidFill>
                </a:rPr>
                <a:t>Klicken Sie auf das Bild-Symbol in der Mitte </a:t>
              </a:r>
              <a:br>
                <a:rPr lang="de-DE" sz="1133" b="0" kern="600" baseline="0">
                  <a:solidFill>
                    <a:schemeClr val="bg1"/>
                  </a:solidFill>
                </a:rPr>
              </a:br>
              <a:r>
                <a:rPr lang="de-DE" sz="1133" b="0" kern="600" baseline="0">
                  <a:solidFill>
                    <a:schemeClr val="bg1"/>
                  </a:solidFill>
                </a:rPr>
                <a:t>des Platzhalters</a:t>
              </a: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r>
                <a:rPr lang="de-DE" sz="1133" b="0" kern="600" baseline="0">
                  <a:solidFill>
                    <a:schemeClr val="bg1"/>
                  </a:solidFill>
                </a:rPr>
                <a:t>Nachdem Sie Ihr Bild platziert haben, können Sie es über »Bildtools -&gt; Zuschneiden« innerhalb der hier definierten »</a:t>
              </a:r>
              <a:r>
                <a:rPr lang="de-DE" sz="1133" b="0" kern="600" baseline="0" err="1">
                  <a:solidFill>
                    <a:schemeClr val="bg1"/>
                  </a:solidFill>
                </a:rPr>
                <a:t>Bildbox</a:t>
              </a:r>
              <a:r>
                <a:rPr lang="de-DE" sz="1133" b="0" kern="600" baseline="0">
                  <a:solidFill>
                    <a:schemeClr val="bg1"/>
                  </a:solidFill>
                </a:rPr>
                <a:t>« verschieben und/oder beschneiden. Die enthaltenen Hilfslinien helfen bei der richtigen Positionierung.</a:t>
              </a:r>
              <a:r>
                <a:rPr lang="de-CH" sz="1133" b="0" kern="600" baseline="0">
                  <a:solidFill>
                    <a:schemeClr val="bg1"/>
                  </a:solidFill>
                </a:rPr>
                <a:t> Durch Klicken auf »Einpassen« wird das Bild passend skaliert.</a:t>
              </a: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</p:txBody>
        </p:sp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A0D66099-7FA3-49BB-BC63-BA08D450FE8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p:blipFill>
          <p:spPr>
            <a:xfrm flipH="1">
              <a:off x="-1589225" y="3001763"/>
              <a:ext cx="1088246" cy="114392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425981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51">
          <p15:clr>
            <a:srgbClr val="A4A3A4"/>
          </p15:clr>
        </p15:guide>
        <p15:guide id="2" orient="horz" pos="1928">
          <p15:clr>
            <a:srgbClr val="FBAE40"/>
          </p15:clr>
        </p15:guide>
        <p15:guide id="3" pos="288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581912" y="2638044"/>
            <a:ext cx="4271771" cy="310198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8315" y="2638044"/>
            <a:ext cx="4270247" cy="310198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B4D32F-122F-4D69-BA2D-ED0AABEF3798}" type="datetimeFigureOut">
              <a:rPr lang="de-DE" smtClean="0"/>
              <a:t>11.05.2023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F35C4-A9C7-4A18-8B91-2212F20329C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3551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ackground picture and content">
    <p:bg>
      <p:bgPr>
        <a:solidFill>
          <a:srgbClr val="F1F3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>
            <a:extLst>
              <a:ext uri="{FF2B5EF4-FFF2-40B4-BE49-F238E27FC236}">
                <a16:creationId xmlns:a16="http://schemas.microsoft.com/office/drawing/2014/main" id="{275CEBAF-0AE0-42D6-A3D9-679B966DD20C}"/>
              </a:ext>
            </a:extLst>
          </p:cNvPr>
          <p:cNvSpPr/>
          <p:nvPr userDrawn="1"/>
        </p:nvSpPr>
        <p:spPr>
          <a:xfrm>
            <a:off x="0" y="313268"/>
            <a:ext cx="12192000" cy="8974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B39EB31A-396D-42F6-8B6F-485780EB462F}"/>
              </a:ext>
            </a:extLst>
          </p:cNvPr>
          <p:cNvSpPr/>
          <p:nvPr userDrawn="1"/>
        </p:nvSpPr>
        <p:spPr>
          <a:xfrm>
            <a:off x="0" y="313268"/>
            <a:ext cx="124800" cy="8974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eingeben</a:t>
            </a:r>
            <a:endParaRPr lang="en-US"/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726F897D-DEC3-48A9-85BB-D4B69C2391E6}"/>
              </a:ext>
            </a:extLst>
          </p:cNvPr>
          <p:cNvGrpSpPr/>
          <p:nvPr userDrawn="1"/>
        </p:nvGrpSpPr>
        <p:grpSpPr>
          <a:xfrm flipH="1">
            <a:off x="-3840000" y="313269"/>
            <a:ext cx="3360000" cy="4472091"/>
            <a:chOff x="-2880000" y="1428750"/>
            <a:chExt cx="2520000" cy="3354068"/>
          </a:xfrm>
        </p:grpSpPr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34C64702-85E3-443E-BF9D-36A0D33E46B4}"/>
                </a:ext>
              </a:extLst>
            </p:cNvPr>
            <p:cNvSpPr txBox="1"/>
            <p:nvPr userDrawn="1"/>
          </p:nvSpPr>
          <p:spPr>
            <a:xfrm flipH="1">
              <a:off x="-2880000" y="1428750"/>
              <a:ext cx="2520000" cy="3350715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108000" tIns="54000" rIns="108000" bIns="54000" rtlCol="0">
              <a:spAutoFit/>
            </a:bodyPr>
            <a:lstStyle/>
            <a:p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Hintergrundbild einfügen:</a:t>
              </a:r>
            </a:p>
            <a:p>
              <a:pPr marL="153592" indent="-153592">
                <a:buAutoNum type="arabicPeriod"/>
              </a:pPr>
              <a:r>
                <a:rPr lang="de-DE" sz="1133" b="0" kern="600" baseline="0">
                  <a:solidFill>
                    <a:schemeClr val="bg1"/>
                  </a:solidFill>
                </a:rPr>
                <a:t>Rechtsklick &gt; </a:t>
              </a:r>
              <a:r>
                <a:rPr lang="de-DE" sz="1133" b="0" kern="600" baseline="0" err="1">
                  <a:solidFill>
                    <a:schemeClr val="bg1"/>
                  </a:solidFill>
                </a:rPr>
                <a:t>Hintegrund</a:t>
              </a:r>
              <a:r>
                <a:rPr lang="de-DE" sz="1133" b="0" kern="600" baseline="0">
                  <a:solidFill>
                    <a:schemeClr val="bg1"/>
                  </a:solidFill>
                </a:rPr>
                <a:t> formatieren…</a:t>
              </a:r>
            </a:p>
            <a:p>
              <a:pPr marL="153592" indent="-153592">
                <a:buAutoNum type="arabicPeriod"/>
              </a:pPr>
              <a:r>
                <a:rPr lang="de-DE" sz="1133" b="0" kern="600" baseline="0">
                  <a:solidFill>
                    <a:schemeClr val="bg1"/>
                  </a:solidFill>
                </a:rPr>
                <a:t>Aktivieren Sie «Bild- oder Texturfüllung» </a:t>
              </a:r>
              <a:br>
                <a:rPr lang="de-DE" sz="1133" b="0" kern="600" baseline="0">
                  <a:solidFill>
                    <a:schemeClr val="bg1"/>
                  </a:solidFill>
                </a:rPr>
              </a:br>
              <a:r>
                <a:rPr lang="de-DE" sz="1133" b="0" kern="600" baseline="0">
                  <a:solidFill>
                    <a:schemeClr val="bg1"/>
                  </a:solidFill>
                </a:rPr>
                <a:t>und wählen Sie dort das Bild aus</a:t>
              </a:r>
              <a:r>
                <a:rPr lang="de-CH" sz="1133" b="0" kern="600" baseline="0">
                  <a:solidFill>
                    <a:schemeClr val="bg1"/>
                  </a:solidFill>
                </a:rPr>
                <a:t>.</a:t>
              </a:r>
            </a:p>
            <a:p>
              <a:pPr marL="153592" indent="-153592">
                <a:buAutoNum type="arabicPeriod"/>
              </a:pPr>
              <a:r>
                <a:rPr lang="de-CH" sz="1133" b="0" kern="600" baseline="0">
                  <a:solidFill>
                    <a:schemeClr val="bg1"/>
                  </a:solidFill>
                </a:rPr>
                <a:t>Bei «Offset» können Sie das Bild verschieben. Achten Sie darauf, dass Sie das Bild nicht verziehen – Wenn bei «Oben» der Wert erhöht wird, muss der Wert bei «Unten» entsprechend verringert werden.</a:t>
              </a: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95B5EB24-2D14-43AA-88D7-7A4C16AE068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81" t="-6092" r="-2781" b="49412"/>
            <a:stretch/>
          </p:blipFill>
          <p:spPr>
            <a:xfrm flipH="1">
              <a:off x="-2445530" y="2444043"/>
              <a:ext cx="1870234" cy="2338775"/>
            </a:xfrm>
            <a:prstGeom prst="rect">
              <a:avLst/>
            </a:prstGeom>
          </p:spPr>
        </p:pic>
      </p:grp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8C1F4-CC17-4179-ABF6-E1748E66AC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3829" y="1824567"/>
            <a:ext cx="3653371" cy="4726516"/>
          </a:xfrm>
        </p:spPr>
        <p:txBody>
          <a:bodyPr tIns="0" bIns="82800" anchor="b" anchorCtr="0"/>
          <a:lstStyle>
            <a:lvl1pPr>
              <a:lnSpc>
                <a:spcPts val="2067"/>
              </a:lnSpc>
              <a:spcBef>
                <a:spcPts val="0"/>
              </a:spcBef>
              <a:defRPr sz="1533">
                <a:solidFill>
                  <a:schemeClr val="bg1"/>
                </a:solidFill>
                <a:latin typeface="+mj-lt"/>
              </a:defRPr>
            </a:lvl1pPr>
            <a:lvl2pPr marL="153592" indent="-153592">
              <a:lnSpc>
                <a:spcPts val="2067"/>
              </a:lnSpc>
              <a:spcBef>
                <a:spcPts val="0"/>
              </a:spcBef>
              <a:buClrTx/>
              <a:defRPr sz="1533">
                <a:solidFill>
                  <a:schemeClr val="bg1"/>
                </a:solidFill>
              </a:defRPr>
            </a:lvl2pPr>
            <a:lvl3pPr marL="307184" indent="-153592">
              <a:lnSpc>
                <a:spcPts val="2067"/>
              </a:lnSpc>
              <a:spcBef>
                <a:spcPts val="0"/>
              </a:spcBef>
              <a:buClrTx/>
              <a:defRPr sz="1533">
                <a:solidFill>
                  <a:schemeClr val="bg1"/>
                </a:solidFill>
              </a:defRPr>
            </a:lvl3pPr>
            <a:lvl4pPr marL="307184" indent="-307184">
              <a:lnSpc>
                <a:spcPts val="2067"/>
              </a:lnSpc>
              <a:spcBef>
                <a:spcPts val="0"/>
              </a:spcBef>
              <a:defRPr sz="1533">
                <a:solidFill>
                  <a:schemeClr val="bg1"/>
                </a:solidFill>
              </a:defRPr>
            </a:lvl4pPr>
            <a:lvl5pPr marL="614370" indent="-307184">
              <a:lnSpc>
                <a:spcPts val="2067"/>
              </a:lnSpc>
              <a:spcBef>
                <a:spcPts val="0"/>
              </a:spcBef>
              <a:defRPr sz="1533">
                <a:solidFill>
                  <a:schemeClr val="bg1"/>
                </a:solidFill>
              </a:defRPr>
            </a:lvl5pPr>
            <a:lvl6pPr>
              <a:lnSpc>
                <a:spcPts val="2067"/>
              </a:lnSpc>
              <a:spcBef>
                <a:spcPts val="1033"/>
              </a:spcBef>
              <a:defRPr sz="1533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  <a:latin typeface="+mn-lt"/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lnSpc>
                <a:spcPts val="2067"/>
              </a:lnSpc>
              <a:defRPr sz="1533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4442C26-6859-45F0-A33D-37DC8127C5E0}"/>
              </a:ext>
            </a:extLst>
          </p:cNvPr>
          <p:cNvSpPr/>
          <p:nvPr userDrawn="1"/>
        </p:nvSpPr>
        <p:spPr>
          <a:xfrm>
            <a:off x="-3552937" y="3462676"/>
            <a:ext cx="2431249" cy="264577"/>
          </a:xfrm>
          <a:prstGeom prst="rect">
            <a:avLst/>
          </a:prstGeom>
          <a:noFill/>
          <a:ln w="254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FAE64536-D154-4779-995A-5E8C7AD16E41}"/>
              </a:ext>
            </a:extLst>
          </p:cNvPr>
          <p:cNvSpPr/>
          <p:nvPr userDrawn="1"/>
        </p:nvSpPr>
        <p:spPr>
          <a:xfrm>
            <a:off x="-3552937" y="4187826"/>
            <a:ext cx="2431249" cy="539143"/>
          </a:xfrm>
          <a:prstGeom prst="rect">
            <a:avLst/>
          </a:prstGeom>
          <a:noFill/>
          <a:ln w="254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1717B0F3-34A3-4535-937C-ADBDA641D0CF}"/>
              </a:ext>
            </a:extLst>
          </p:cNvPr>
          <p:cNvSpPr txBox="1"/>
          <p:nvPr userDrawn="1"/>
        </p:nvSpPr>
        <p:spPr>
          <a:xfrm>
            <a:off x="-3840000" y="5040002"/>
            <a:ext cx="3360000" cy="1540147"/>
          </a:xfrm>
          <a:prstGeom prst="rect">
            <a:avLst/>
          </a:prstGeom>
          <a:solidFill>
            <a:schemeClr val="accent2"/>
          </a:solidFill>
        </p:spPr>
        <p:txBody>
          <a:bodyPr wrap="square" lIns="144000" tIns="72000" rIns="144000" bIns="72000" rtlCol="0">
            <a:spAutoFit/>
          </a:bodyPr>
          <a:lstStyle/>
          <a:p>
            <a:r>
              <a:rPr lang="de-DE" sz="1133" b="0" kern="600">
                <a:solidFill>
                  <a:schemeClr val="bg1"/>
                </a:solidFill>
                <a:latin typeface="+mj-lt"/>
              </a:rPr>
              <a:t>Enthaltene Textebenen:</a:t>
            </a:r>
          </a:p>
          <a:p>
            <a:r>
              <a:rPr lang="de-DE" sz="1133" b="0" kern="600">
                <a:solidFill>
                  <a:schemeClr val="bg1"/>
                </a:solidFill>
                <a:latin typeface="+mn-lt"/>
              </a:rPr>
              <a:t>Ebene</a:t>
            </a: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 1 = Titel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2 = Auflist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3 = Auflist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4 = Nummerier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5 = Nummerier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6 = Untertitel mit Abstand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7 = Legende</a:t>
            </a:r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68E93DE2-D58A-4F53-98DD-B142C1E269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13829" y="6417600"/>
            <a:ext cx="9523771" cy="240000"/>
          </a:xfrm>
        </p:spPr>
        <p:txBody>
          <a:bodyPr/>
          <a:lstStyle>
            <a:lvl1pPr algn="l">
              <a:defRPr/>
            </a:lvl1pPr>
          </a:lstStyle>
          <a:p>
            <a:pPr algn="l"/>
            <a:endParaRPr lang="de-CH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C29EB19-4D49-4D1E-9799-ACD0B603CEA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84BE2A-AF72-474C-A580-796179F45542}" type="slidenum">
              <a:rPr lang="de-CH" smtClean="0"/>
              <a:pPr/>
              <a:t>‹Nr.›</a:t>
            </a:fld>
            <a:endParaRPr lang="de-CH" kern="600"/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3E4076A7-A842-452F-A926-9059F92CF582}"/>
              </a:ext>
            </a:extLst>
          </p:cNvPr>
          <p:cNvGrpSpPr/>
          <p:nvPr userDrawn="1"/>
        </p:nvGrpSpPr>
        <p:grpSpPr>
          <a:xfrm>
            <a:off x="10136049" y="559792"/>
            <a:ext cx="1440000" cy="404419"/>
            <a:chOff x="-5709525" y="-5645283"/>
            <a:chExt cx="19213689" cy="5396089"/>
          </a:xfrm>
        </p:grpSpPr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5B3229CB-B88D-4EF9-9411-97BE70BB67D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5709525" y="-5645283"/>
              <a:ext cx="19213689" cy="5396089"/>
            </a:xfrm>
            <a:prstGeom prst="rect">
              <a:avLst/>
            </a:prstGeom>
          </p:spPr>
        </p:pic>
        <p:sp>
          <p:nvSpPr>
            <p:cNvPr id="31" name="Freeform 26">
              <a:extLst>
                <a:ext uri="{FF2B5EF4-FFF2-40B4-BE49-F238E27FC236}">
                  <a16:creationId xmlns:a16="http://schemas.microsoft.com/office/drawing/2014/main" id="{E040B119-57F3-4FDE-86ED-4EEF7EC8D4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709525" y="-5645283"/>
              <a:ext cx="1287463" cy="1493837"/>
            </a:xfrm>
            <a:custGeom>
              <a:avLst/>
              <a:gdLst>
                <a:gd name="T0" fmla="*/ 86 w 114"/>
                <a:gd name="T1" fmla="*/ 0 h 132"/>
                <a:gd name="T2" fmla="*/ 1 w 114"/>
                <a:gd name="T3" fmla="*/ 20 h 132"/>
                <a:gd name="T4" fmla="*/ 0 w 114"/>
                <a:gd name="T5" fmla="*/ 31 h 132"/>
                <a:gd name="T6" fmla="*/ 31 w 114"/>
                <a:gd name="T7" fmla="*/ 132 h 132"/>
                <a:gd name="T8" fmla="*/ 114 w 114"/>
                <a:gd name="T9" fmla="*/ 115 h 132"/>
                <a:gd name="T10" fmla="*/ 114 w 114"/>
                <a:gd name="T11" fmla="*/ 106 h 132"/>
                <a:gd name="T12" fmla="*/ 94 w 114"/>
                <a:gd name="T13" fmla="*/ 0 h 132"/>
                <a:gd name="T14" fmla="*/ 86 w 114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32">
                  <a:moveTo>
                    <a:pt x="86" y="0"/>
                  </a:moveTo>
                  <a:cubicBezTo>
                    <a:pt x="52" y="0"/>
                    <a:pt x="25" y="8"/>
                    <a:pt x="1" y="20"/>
                  </a:cubicBezTo>
                  <a:cubicBezTo>
                    <a:pt x="1" y="23"/>
                    <a:pt x="0" y="25"/>
                    <a:pt x="0" y="31"/>
                  </a:cubicBezTo>
                  <a:cubicBezTo>
                    <a:pt x="0" y="56"/>
                    <a:pt x="18" y="102"/>
                    <a:pt x="31" y="132"/>
                  </a:cubicBezTo>
                  <a:cubicBezTo>
                    <a:pt x="56" y="132"/>
                    <a:pt x="92" y="125"/>
                    <a:pt x="114" y="115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81"/>
                    <a:pt x="113" y="24"/>
                    <a:pt x="94" y="0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sz="2400"/>
            </a:p>
          </p:txBody>
        </p:sp>
      </p:grpSp>
    </p:spTree>
    <p:extLst>
      <p:ext uri="{BB962C8B-B14F-4D97-AF65-F5344CB8AC3E}">
        <p14:creationId xmlns:p14="http://schemas.microsoft.com/office/powerpoint/2010/main" val="836363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18">
          <p15:clr>
            <a:srgbClr val="5ACBF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1 picture and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>
            <a:extLst>
              <a:ext uri="{FF2B5EF4-FFF2-40B4-BE49-F238E27FC236}">
                <a16:creationId xmlns:a16="http://schemas.microsoft.com/office/drawing/2014/main" id="{88D3D1E1-17A4-47DC-9528-97498B70D95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1F3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34B7E63D-A795-4C5F-816D-9092579F53C0}"/>
              </a:ext>
            </a:extLst>
          </p:cNvPr>
          <p:cNvSpPr/>
          <p:nvPr userDrawn="1"/>
        </p:nvSpPr>
        <p:spPr>
          <a:xfrm>
            <a:off x="0" y="313268"/>
            <a:ext cx="12192000" cy="8974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1EDD600C-1942-4012-BB0E-5AF8E9A87AB5}"/>
              </a:ext>
            </a:extLst>
          </p:cNvPr>
          <p:cNvSpPr/>
          <p:nvPr userDrawn="1"/>
        </p:nvSpPr>
        <p:spPr>
          <a:xfrm>
            <a:off x="0" y="313268"/>
            <a:ext cx="124800" cy="8974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CEF133EA-A09F-4144-B542-D1A3A7EC592A}"/>
              </a:ext>
            </a:extLst>
          </p:cNvPr>
          <p:cNvGrpSpPr/>
          <p:nvPr userDrawn="1"/>
        </p:nvGrpSpPr>
        <p:grpSpPr>
          <a:xfrm>
            <a:off x="10136049" y="559792"/>
            <a:ext cx="1440000" cy="404419"/>
            <a:chOff x="-5709525" y="-5645283"/>
            <a:chExt cx="19213689" cy="5396089"/>
          </a:xfrm>
        </p:grpSpPr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89C49703-2429-465D-A755-0BFEE48B834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5709525" y="-5645283"/>
              <a:ext cx="19213689" cy="5396089"/>
            </a:xfrm>
            <a:prstGeom prst="rect">
              <a:avLst/>
            </a:prstGeom>
          </p:spPr>
        </p:pic>
        <p:sp>
          <p:nvSpPr>
            <p:cNvPr id="32" name="Freeform 26">
              <a:extLst>
                <a:ext uri="{FF2B5EF4-FFF2-40B4-BE49-F238E27FC236}">
                  <a16:creationId xmlns:a16="http://schemas.microsoft.com/office/drawing/2014/main" id="{8C1A89DC-EAB4-4531-857B-1B88143783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709525" y="-5645283"/>
              <a:ext cx="1287463" cy="1493837"/>
            </a:xfrm>
            <a:custGeom>
              <a:avLst/>
              <a:gdLst>
                <a:gd name="T0" fmla="*/ 86 w 114"/>
                <a:gd name="T1" fmla="*/ 0 h 132"/>
                <a:gd name="T2" fmla="*/ 1 w 114"/>
                <a:gd name="T3" fmla="*/ 20 h 132"/>
                <a:gd name="T4" fmla="*/ 0 w 114"/>
                <a:gd name="T5" fmla="*/ 31 h 132"/>
                <a:gd name="T6" fmla="*/ 31 w 114"/>
                <a:gd name="T7" fmla="*/ 132 h 132"/>
                <a:gd name="T8" fmla="*/ 114 w 114"/>
                <a:gd name="T9" fmla="*/ 115 h 132"/>
                <a:gd name="T10" fmla="*/ 114 w 114"/>
                <a:gd name="T11" fmla="*/ 106 h 132"/>
                <a:gd name="T12" fmla="*/ 94 w 114"/>
                <a:gd name="T13" fmla="*/ 0 h 132"/>
                <a:gd name="T14" fmla="*/ 86 w 114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32">
                  <a:moveTo>
                    <a:pt x="86" y="0"/>
                  </a:moveTo>
                  <a:cubicBezTo>
                    <a:pt x="52" y="0"/>
                    <a:pt x="25" y="8"/>
                    <a:pt x="1" y="20"/>
                  </a:cubicBezTo>
                  <a:cubicBezTo>
                    <a:pt x="1" y="23"/>
                    <a:pt x="0" y="25"/>
                    <a:pt x="0" y="31"/>
                  </a:cubicBezTo>
                  <a:cubicBezTo>
                    <a:pt x="0" y="56"/>
                    <a:pt x="18" y="102"/>
                    <a:pt x="31" y="132"/>
                  </a:cubicBezTo>
                  <a:cubicBezTo>
                    <a:pt x="56" y="132"/>
                    <a:pt x="92" y="125"/>
                    <a:pt x="114" y="115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81"/>
                    <a:pt x="113" y="24"/>
                    <a:pt x="94" y="0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sz="240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eingeben</a:t>
            </a:r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E3894A0-E343-4559-A922-B591527E420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613829" y="6417600"/>
            <a:ext cx="9523771" cy="240000"/>
          </a:xfrm>
        </p:spPr>
        <p:txBody>
          <a:bodyPr/>
          <a:lstStyle>
            <a:lvl1pPr algn="l">
              <a:defRPr/>
            </a:lvl1pPr>
          </a:lstStyle>
          <a:p>
            <a:pPr algn="l"/>
            <a:endParaRPr lang="de-CH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C9A4044-7C30-4E00-9972-A0866BF788B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B84BE2A-AF72-474C-A580-796179F45542}" type="slidenum">
              <a:rPr lang="de-CH" smtClean="0"/>
              <a:pPr/>
              <a:t>‹Nr.›</a:t>
            </a:fld>
            <a:endParaRPr lang="de-CH" kern="600"/>
          </a:p>
        </p:txBody>
      </p:sp>
      <p:sp>
        <p:nvSpPr>
          <p:cNvPr id="15" name="Bildplatzhalter 6">
            <a:extLst>
              <a:ext uri="{FF2B5EF4-FFF2-40B4-BE49-F238E27FC236}">
                <a16:creationId xmlns:a16="http://schemas.microsoft.com/office/drawing/2014/main" id="{06BF718F-FC5B-4EDB-A31B-2EA0B91ED11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13831" y="1824563"/>
            <a:ext cx="5327655" cy="4417488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ts val="2067"/>
              </a:lnSpc>
              <a:spcBef>
                <a:spcPts val="0"/>
              </a:spcBef>
              <a:defRPr sz="1533" baseline="0">
                <a:latin typeface="+mj-lt"/>
              </a:defRPr>
            </a:lvl1pPr>
          </a:lstStyle>
          <a:p>
            <a:r>
              <a:rPr lang="de-CH"/>
              <a:t>Klicken Sie auf das Bild-Symbol in der Mitte um ein Bild hier zu platzier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5B907AE-511B-4F88-A82E-69DDFCDDF87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48398" y="1824563"/>
            <a:ext cx="5327655" cy="4417488"/>
          </a:xfrm>
        </p:spPr>
        <p:txBody>
          <a:bodyPr/>
          <a:lstStyle>
            <a:lvl5pPr>
              <a:defRPr/>
            </a:lvl5pPr>
            <a:lvl8pPr>
              <a:defRPr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4F1436F-238E-4485-BE86-198820D03222}"/>
              </a:ext>
            </a:extLst>
          </p:cNvPr>
          <p:cNvSpPr txBox="1"/>
          <p:nvPr userDrawn="1"/>
        </p:nvSpPr>
        <p:spPr>
          <a:xfrm>
            <a:off x="-3840000" y="4171202"/>
            <a:ext cx="3360000" cy="1714490"/>
          </a:xfrm>
          <a:prstGeom prst="rect">
            <a:avLst/>
          </a:prstGeom>
          <a:solidFill>
            <a:schemeClr val="accent2"/>
          </a:solidFill>
        </p:spPr>
        <p:txBody>
          <a:bodyPr wrap="square" lIns="144000" tIns="72000" rIns="144000" bIns="72000" rtlCol="0">
            <a:spAutoFit/>
          </a:bodyPr>
          <a:lstStyle/>
          <a:p>
            <a:r>
              <a:rPr lang="de-DE" sz="1133" b="0" kern="600">
                <a:solidFill>
                  <a:schemeClr val="bg1"/>
                </a:solidFill>
                <a:latin typeface="+mj-lt"/>
              </a:rPr>
              <a:t>Enthaltene Textebenen:</a:t>
            </a:r>
          </a:p>
          <a:p>
            <a:r>
              <a:rPr lang="de-DE" sz="1133" b="0" kern="600">
                <a:solidFill>
                  <a:schemeClr val="bg1"/>
                </a:solidFill>
                <a:latin typeface="+mn-lt"/>
              </a:rPr>
              <a:t>Ebene</a:t>
            </a: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 1 = Normaler Tex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2 = Auflist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3 = Auflist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4 = Nummerier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5 = Nummerier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6 = Untertitel mit Abstand</a:t>
            </a:r>
          </a:p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7 = Kleiner Text, fett (Legenden-Titel)</a:t>
            </a:r>
            <a:endParaRPr lang="de-CH" sz="1133" b="0" kern="600">
              <a:solidFill>
                <a:schemeClr val="bg1"/>
              </a:solidFill>
              <a:latin typeface="+mn-lt"/>
            </a:endParaRP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8 = Kleiner Text (Legenden)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90353422-C43D-45C6-9416-1431DEE1F232}"/>
              </a:ext>
            </a:extLst>
          </p:cNvPr>
          <p:cNvGrpSpPr/>
          <p:nvPr userDrawn="1"/>
        </p:nvGrpSpPr>
        <p:grpSpPr>
          <a:xfrm flipH="1">
            <a:off x="-3840000" y="313268"/>
            <a:ext cx="3360000" cy="3770250"/>
            <a:chOff x="-2880000" y="1428750"/>
            <a:chExt cx="2520000" cy="2827687"/>
          </a:xfrm>
        </p:grpSpPr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D5B29FCF-CE03-4B3A-818E-AADEFE4DFFF4}"/>
                </a:ext>
              </a:extLst>
            </p:cNvPr>
            <p:cNvSpPr txBox="1"/>
            <p:nvPr userDrawn="1"/>
          </p:nvSpPr>
          <p:spPr>
            <a:xfrm flipH="1">
              <a:off x="-2880000" y="1428750"/>
              <a:ext cx="2520000" cy="2827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108000" tIns="54000" rIns="108000" bIns="54000" rtlCol="0">
              <a:spAutoFit/>
            </a:bodyPr>
            <a:lstStyle/>
            <a:p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Bilder einfügen:</a:t>
              </a:r>
            </a:p>
            <a:p>
              <a:pPr marL="153592" indent="-153592">
                <a:buAutoNum type="arabicPeriod"/>
              </a:pPr>
              <a:r>
                <a:rPr lang="de-DE" sz="1133" b="0" kern="600" baseline="0">
                  <a:solidFill>
                    <a:schemeClr val="bg1"/>
                  </a:solidFill>
                </a:rPr>
                <a:t>Löschen Sie das ggf. bereits vorhandene Bild</a:t>
              </a:r>
            </a:p>
            <a:p>
              <a:pPr marL="153592" indent="-153592">
                <a:buAutoNum type="arabicPeriod"/>
              </a:pPr>
              <a:r>
                <a:rPr lang="de-DE" sz="1133" b="0" kern="600" baseline="0">
                  <a:solidFill>
                    <a:schemeClr val="bg1"/>
                  </a:solidFill>
                </a:rPr>
                <a:t>Klicken Sie auf das Bild-Symbol in der Mitte </a:t>
              </a:r>
              <a:br>
                <a:rPr lang="de-DE" sz="1133" b="0" kern="600" baseline="0">
                  <a:solidFill>
                    <a:schemeClr val="bg1"/>
                  </a:solidFill>
                </a:rPr>
              </a:br>
              <a:r>
                <a:rPr lang="de-DE" sz="1133" b="0" kern="600" baseline="0">
                  <a:solidFill>
                    <a:schemeClr val="bg1"/>
                  </a:solidFill>
                </a:rPr>
                <a:t>des Platzhalters</a:t>
              </a: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r>
                <a:rPr lang="de-DE" sz="1133" b="0" kern="600" baseline="0">
                  <a:solidFill>
                    <a:schemeClr val="bg1"/>
                  </a:solidFill>
                </a:rPr>
                <a:t>Nachdem Sie Ihr Bild platziert haben, können Sie es über »Bildtools -&gt; Zuschneiden« innerhalb der hier definierten »</a:t>
              </a:r>
              <a:r>
                <a:rPr lang="de-DE" sz="1133" b="0" kern="600" baseline="0" err="1">
                  <a:solidFill>
                    <a:schemeClr val="bg1"/>
                  </a:solidFill>
                </a:rPr>
                <a:t>Bildbox</a:t>
              </a:r>
              <a:r>
                <a:rPr lang="de-DE" sz="1133" b="0" kern="600" baseline="0">
                  <a:solidFill>
                    <a:schemeClr val="bg1"/>
                  </a:solidFill>
                </a:rPr>
                <a:t>« verschieben und/oder beschneiden. Die enthaltenen Hilfslinien helfen bei der richtigen Positionierung.</a:t>
              </a:r>
              <a:r>
                <a:rPr lang="de-CH" sz="1133" b="0" kern="600" baseline="0">
                  <a:solidFill>
                    <a:schemeClr val="bg1"/>
                  </a:solidFill>
                </a:rPr>
                <a:t> Durch Klicken auf »Einpassen« wird das Bild passend skaliert.</a:t>
              </a: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</p:txBody>
        </p:sp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AF6527C9-3662-4058-A994-1FF8CEA9A98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p:blipFill>
          <p:spPr>
            <a:xfrm flipH="1">
              <a:off x="-1589225" y="3001763"/>
              <a:ext cx="1088246" cy="114392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004153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2807">
          <p15:clr>
            <a:srgbClr val="FBAE40"/>
          </p15:clr>
        </p15:guide>
        <p15:guide id="4" pos="2952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1 shape and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>
            <a:extLst>
              <a:ext uri="{FF2B5EF4-FFF2-40B4-BE49-F238E27FC236}">
                <a16:creationId xmlns:a16="http://schemas.microsoft.com/office/drawing/2014/main" id="{88D3D1E1-17A4-47DC-9528-97498B70D95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1F3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34B7E63D-A795-4C5F-816D-9092579F53C0}"/>
              </a:ext>
            </a:extLst>
          </p:cNvPr>
          <p:cNvSpPr/>
          <p:nvPr userDrawn="1"/>
        </p:nvSpPr>
        <p:spPr>
          <a:xfrm>
            <a:off x="0" y="313268"/>
            <a:ext cx="12192000" cy="8974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1EDD600C-1942-4012-BB0E-5AF8E9A87AB5}"/>
              </a:ext>
            </a:extLst>
          </p:cNvPr>
          <p:cNvSpPr/>
          <p:nvPr userDrawn="1"/>
        </p:nvSpPr>
        <p:spPr>
          <a:xfrm>
            <a:off x="0" y="313268"/>
            <a:ext cx="124800" cy="8974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CEF133EA-A09F-4144-B542-D1A3A7EC592A}"/>
              </a:ext>
            </a:extLst>
          </p:cNvPr>
          <p:cNvGrpSpPr/>
          <p:nvPr userDrawn="1"/>
        </p:nvGrpSpPr>
        <p:grpSpPr>
          <a:xfrm>
            <a:off x="10136049" y="559792"/>
            <a:ext cx="1440000" cy="404419"/>
            <a:chOff x="-5709525" y="-5645283"/>
            <a:chExt cx="19213689" cy="5396089"/>
          </a:xfrm>
        </p:grpSpPr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89C49703-2429-465D-A755-0BFEE48B834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5709525" y="-5645283"/>
              <a:ext cx="19213689" cy="5396089"/>
            </a:xfrm>
            <a:prstGeom prst="rect">
              <a:avLst/>
            </a:prstGeom>
          </p:spPr>
        </p:pic>
        <p:sp>
          <p:nvSpPr>
            <p:cNvPr id="32" name="Freeform 26">
              <a:extLst>
                <a:ext uri="{FF2B5EF4-FFF2-40B4-BE49-F238E27FC236}">
                  <a16:creationId xmlns:a16="http://schemas.microsoft.com/office/drawing/2014/main" id="{8C1A89DC-EAB4-4531-857B-1B88143783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709525" y="-5645283"/>
              <a:ext cx="1287463" cy="1493837"/>
            </a:xfrm>
            <a:custGeom>
              <a:avLst/>
              <a:gdLst>
                <a:gd name="T0" fmla="*/ 86 w 114"/>
                <a:gd name="T1" fmla="*/ 0 h 132"/>
                <a:gd name="T2" fmla="*/ 1 w 114"/>
                <a:gd name="T3" fmla="*/ 20 h 132"/>
                <a:gd name="T4" fmla="*/ 0 w 114"/>
                <a:gd name="T5" fmla="*/ 31 h 132"/>
                <a:gd name="T6" fmla="*/ 31 w 114"/>
                <a:gd name="T7" fmla="*/ 132 h 132"/>
                <a:gd name="T8" fmla="*/ 114 w 114"/>
                <a:gd name="T9" fmla="*/ 115 h 132"/>
                <a:gd name="T10" fmla="*/ 114 w 114"/>
                <a:gd name="T11" fmla="*/ 106 h 132"/>
                <a:gd name="T12" fmla="*/ 94 w 114"/>
                <a:gd name="T13" fmla="*/ 0 h 132"/>
                <a:gd name="T14" fmla="*/ 86 w 114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32">
                  <a:moveTo>
                    <a:pt x="86" y="0"/>
                  </a:moveTo>
                  <a:cubicBezTo>
                    <a:pt x="52" y="0"/>
                    <a:pt x="25" y="8"/>
                    <a:pt x="1" y="20"/>
                  </a:cubicBezTo>
                  <a:cubicBezTo>
                    <a:pt x="1" y="23"/>
                    <a:pt x="0" y="25"/>
                    <a:pt x="0" y="31"/>
                  </a:cubicBezTo>
                  <a:cubicBezTo>
                    <a:pt x="0" y="56"/>
                    <a:pt x="18" y="102"/>
                    <a:pt x="31" y="132"/>
                  </a:cubicBezTo>
                  <a:cubicBezTo>
                    <a:pt x="56" y="132"/>
                    <a:pt x="92" y="125"/>
                    <a:pt x="114" y="115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81"/>
                    <a:pt x="113" y="24"/>
                    <a:pt x="94" y="0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sz="240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eingeben</a:t>
            </a:r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E3894A0-E343-4559-A922-B591527E420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613829" y="6417600"/>
            <a:ext cx="9523771" cy="240000"/>
          </a:xfrm>
        </p:spPr>
        <p:txBody>
          <a:bodyPr/>
          <a:lstStyle>
            <a:lvl1pPr algn="l">
              <a:defRPr/>
            </a:lvl1pPr>
          </a:lstStyle>
          <a:p>
            <a:pPr algn="l"/>
            <a:endParaRPr lang="de-CH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C9A4044-7C30-4E00-9972-A0866BF788B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B84BE2A-AF72-474C-A580-796179F45542}" type="slidenum">
              <a:rPr lang="de-CH" smtClean="0"/>
              <a:pPr/>
              <a:t>‹Nr.›</a:t>
            </a:fld>
            <a:endParaRPr lang="de-CH" kern="600"/>
          </a:p>
        </p:txBody>
      </p:sp>
      <p:sp>
        <p:nvSpPr>
          <p:cNvPr id="15" name="Bildplatzhalter 6">
            <a:extLst>
              <a:ext uri="{FF2B5EF4-FFF2-40B4-BE49-F238E27FC236}">
                <a16:creationId xmlns:a16="http://schemas.microsoft.com/office/drawing/2014/main" id="{06BF718F-FC5B-4EDB-A31B-2EA0B91ED11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619433" y="1816247"/>
            <a:ext cx="3845987" cy="4440276"/>
          </a:xfrm>
          <a:custGeom>
            <a:avLst/>
            <a:gdLst>
              <a:gd name="connsiteX0" fmla="*/ 0 w 3995741"/>
              <a:gd name="connsiteY0" fmla="*/ 0 h 3313116"/>
              <a:gd name="connsiteX1" fmla="*/ 3995741 w 3995741"/>
              <a:gd name="connsiteY1" fmla="*/ 0 h 3313116"/>
              <a:gd name="connsiteX2" fmla="*/ 3995741 w 3995741"/>
              <a:gd name="connsiteY2" fmla="*/ 3313116 h 3313116"/>
              <a:gd name="connsiteX3" fmla="*/ 0 w 3995741"/>
              <a:gd name="connsiteY3" fmla="*/ 3313116 h 3313116"/>
              <a:gd name="connsiteX4" fmla="*/ 0 w 3995741"/>
              <a:gd name="connsiteY4" fmla="*/ 0 h 3313116"/>
              <a:gd name="connsiteX0" fmla="*/ 24421 w 3995741"/>
              <a:gd name="connsiteY0" fmla="*/ 504684 h 3313116"/>
              <a:gd name="connsiteX1" fmla="*/ 3995741 w 3995741"/>
              <a:gd name="connsiteY1" fmla="*/ 0 h 3313116"/>
              <a:gd name="connsiteX2" fmla="*/ 3995741 w 3995741"/>
              <a:gd name="connsiteY2" fmla="*/ 3313116 h 3313116"/>
              <a:gd name="connsiteX3" fmla="*/ 0 w 3995741"/>
              <a:gd name="connsiteY3" fmla="*/ 3313116 h 3313116"/>
              <a:gd name="connsiteX4" fmla="*/ 24421 w 3995741"/>
              <a:gd name="connsiteY4" fmla="*/ 504684 h 3313116"/>
              <a:gd name="connsiteX0" fmla="*/ 24421 w 3995741"/>
              <a:gd name="connsiteY0" fmla="*/ 504684 h 3313116"/>
              <a:gd name="connsiteX1" fmla="*/ 2375869 w 3995741"/>
              <a:gd name="connsiteY1" fmla="*/ 0 h 3313116"/>
              <a:gd name="connsiteX2" fmla="*/ 3995741 w 3995741"/>
              <a:gd name="connsiteY2" fmla="*/ 3313116 h 3313116"/>
              <a:gd name="connsiteX3" fmla="*/ 0 w 3995741"/>
              <a:gd name="connsiteY3" fmla="*/ 3313116 h 3313116"/>
              <a:gd name="connsiteX4" fmla="*/ 24421 w 3995741"/>
              <a:gd name="connsiteY4" fmla="*/ 504684 h 3313116"/>
              <a:gd name="connsiteX0" fmla="*/ 24421 w 2888693"/>
              <a:gd name="connsiteY0" fmla="*/ 504684 h 3313116"/>
              <a:gd name="connsiteX1" fmla="*/ 2375869 w 2888693"/>
              <a:gd name="connsiteY1" fmla="*/ 0 h 3313116"/>
              <a:gd name="connsiteX2" fmla="*/ 2888693 w 2888693"/>
              <a:gd name="connsiteY2" fmla="*/ 2897973 h 3313116"/>
              <a:gd name="connsiteX3" fmla="*/ 0 w 2888693"/>
              <a:gd name="connsiteY3" fmla="*/ 3313116 h 3313116"/>
              <a:gd name="connsiteX4" fmla="*/ 24421 w 2888693"/>
              <a:gd name="connsiteY4" fmla="*/ 504684 h 3313116"/>
              <a:gd name="connsiteX0" fmla="*/ 0 w 2864272"/>
              <a:gd name="connsiteY0" fmla="*/ 504684 h 3323970"/>
              <a:gd name="connsiteX1" fmla="*/ 2351448 w 2864272"/>
              <a:gd name="connsiteY1" fmla="*/ 0 h 3323970"/>
              <a:gd name="connsiteX2" fmla="*/ 2864272 w 2864272"/>
              <a:gd name="connsiteY2" fmla="*/ 2897973 h 3323970"/>
              <a:gd name="connsiteX3" fmla="*/ 757024 w 2864272"/>
              <a:gd name="connsiteY3" fmla="*/ 3323970 h 3323970"/>
              <a:gd name="connsiteX4" fmla="*/ 0 w 2864272"/>
              <a:gd name="connsiteY4" fmla="*/ 504684 h 3323970"/>
              <a:gd name="connsiteX0" fmla="*/ 0 w 2864272"/>
              <a:gd name="connsiteY0" fmla="*/ 504684 h 3323970"/>
              <a:gd name="connsiteX1" fmla="*/ 2351448 w 2864272"/>
              <a:gd name="connsiteY1" fmla="*/ 0 h 3323970"/>
              <a:gd name="connsiteX2" fmla="*/ 2864272 w 2864272"/>
              <a:gd name="connsiteY2" fmla="*/ 2897973 h 3323970"/>
              <a:gd name="connsiteX3" fmla="*/ 757024 w 2864272"/>
              <a:gd name="connsiteY3" fmla="*/ 3323970 h 3323970"/>
              <a:gd name="connsiteX4" fmla="*/ 0 w 2864272"/>
              <a:gd name="connsiteY4" fmla="*/ 504684 h 3323970"/>
              <a:gd name="connsiteX0" fmla="*/ 0 w 2864272"/>
              <a:gd name="connsiteY0" fmla="*/ 504684 h 3323970"/>
              <a:gd name="connsiteX1" fmla="*/ 2351448 w 2864272"/>
              <a:gd name="connsiteY1" fmla="*/ 0 h 3323970"/>
              <a:gd name="connsiteX2" fmla="*/ 2864272 w 2864272"/>
              <a:gd name="connsiteY2" fmla="*/ 2897973 h 3323970"/>
              <a:gd name="connsiteX3" fmla="*/ 757024 w 2864272"/>
              <a:gd name="connsiteY3" fmla="*/ 3323970 h 3323970"/>
              <a:gd name="connsiteX4" fmla="*/ 0 w 2864272"/>
              <a:gd name="connsiteY4" fmla="*/ 504684 h 3323970"/>
              <a:gd name="connsiteX0" fmla="*/ 0 w 2864272"/>
              <a:gd name="connsiteY0" fmla="*/ 504684 h 3323970"/>
              <a:gd name="connsiteX1" fmla="*/ 2351448 w 2864272"/>
              <a:gd name="connsiteY1" fmla="*/ 0 h 3323970"/>
              <a:gd name="connsiteX2" fmla="*/ 2864272 w 2864272"/>
              <a:gd name="connsiteY2" fmla="*/ 2897973 h 3323970"/>
              <a:gd name="connsiteX3" fmla="*/ 757024 w 2864272"/>
              <a:gd name="connsiteY3" fmla="*/ 3323970 h 3323970"/>
              <a:gd name="connsiteX4" fmla="*/ 0 w 2864272"/>
              <a:gd name="connsiteY4" fmla="*/ 504684 h 3323970"/>
              <a:gd name="connsiteX0" fmla="*/ 0 w 2864272"/>
              <a:gd name="connsiteY0" fmla="*/ 504684 h 3323970"/>
              <a:gd name="connsiteX1" fmla="*/ 2351448 w 2864272"/>
              <a:gd name="connsiteY1" fmla="*/ 0 h 3323970"/>
              <a:gd name="connsiteX2" fmla="*/ 2864272 w 2864272"/>
              <a:gd name="connsiteY2" fmla="*/ 2897973 h 3323970"/>
              <a:gd name="connsiteX3" fmla="*/ 757024 w 2864272"/>
              <a:gd name="connsiteY3" fmla="*/ 3323970 h 3323970"/>
              <a:gd name="connsiteX4" fmla="*/ 0 w 2864272"/>
              <a:gd name="connsiteY4" fmla="*/ 504684 h 3323970"/>
              <a:gd name="connsiteX0" fmla="*/ 0 w 2866924"/>
              <a:gd name="connsiteY0" fmla="*/ 504684 h 3323970"/>
              <a:gd name="connsiteX1" fmla="*/ 2351448 w 2866924"/>
              <a:gd name="connsiteY1" fmla="*/ 0 h 3323970"/>
              <a:gd name="connsiteX2" fmla="*/ 2864272 w 2866924"/>
              <a:gd name="connsiteY2" fmla="*/ 2897973 h 3323970"/>
              <a:gd name="connsiteX3" fmla="*/ 757024 w 2866924"/>
              <a:gd name="connsiteY3" fmla="*/ 3323970 h 3323970"/>
              <a:gd name="connsiteX4" fmla="*/ 0 w 2866924"/>
              <a:gd name="connsiteY4" fmla="*/ 504684 h 3323970"/>
              <a:gd name="connsiteX0" fmla="*/ 0 w 2870898"/>
              <a:gd name="connsiteY0" fmla="*/ 504684 h 3323970"/>
              <a:gd name="connsiteX1" fmla="*/ 2351448 w 2870898"/>
              <a:gd name="connsiteY1" fmla="*/ 0 h 3323970"/>
              <a:gd name="connsiteX2" fmla="*/ 2864272 w 2870898"/>
              <a:gd name="connsiteY2" fmla="*/ 2897973 h 3323970"/>
              <a:gd name="connsiteX3" fmla="*/ 757024 w 2870898"/>
              <a:gd name="connsiteY3" fmla="*/ 3323970 h 3323970"/>
              <a:gd name="connsiteX4" fmla="*/ 0 w 2870898"/>
              <a:gd name="connsiteY4" fmla="*/ 504684 h 3323970"/>
              <a:gd name="connsiteX0" fmla="*/ 0 w 2864272"/>
              <a:gd name="connsiteY0" fmla="*/ 504684 h 3323970"/>
              <a:gd name="connsiteX1" fmla="*/ 2351448 w 2864272"/>
              <a:gd name="connsiteY1" fmla="*/ 0 h 3323970"/>
              <a:gd name="connsiteX2" fmla="*/ 2864272 w 2864272"/>
              <a:gd name="connsiteY2" fmla="*/ 2897973 h 3323970"/>
              <a:gd name="connsiteX3" fmla="*/ 757024 w 2864272"/>
              <a:gd name="connsiteY3" fmla="*/ 3323970 h 3323970"/>
              <a:gd name="connsiteX4" fmla="*/ 0 w 2864272"/>
              <a:gd name="connsiteY4" fmla="*/ 504684 h 3323970"/>
              <a:gd name="connsiteX0" fmla="*/ 0 w 2864272"/>
              <a:gd name="connsiteY0" fmla="*/ 508928 h 3328214"/>
              <a:gd name="connsiteX1" fmla="*/ 2351448 w 2864272"/>
              <a:gd name="connsiteY1" fmla="*/ 4244 h 3328214"/>
              <a:gd name="connsiteX2" fmla="*/ 2864272 w 2864272"/>
              <a:gd name="connsiteY2" fmla="*/ 2902217 h 3328214"/>
              <a:gd name="connsiteX3" fmla="*/ 757024 w 2864272"/>
              <a:gd name="connsiteY3" fmla="*/ 3328214 h 3328214"/>
              <a:gd name="connsiteX4" fmla="*/ 0 w 2864272"/>
              <a:gd name="connsiteY4" fmla="*/ 508928 h 3328214"/>
              <a:gd name="connsiteX0" fmla="*/ 0 w 2864272"/>
              <a:gd name="connsiteY0" fmla="*/ 511596 h 3330882"/>
              <a:gd name="connsiteX1" fmla="*/ 2351448 w 2864272"/>
              <a:gd name="connsiteY1" fmla="*/ 6912 h 3330882"/>
              <a:gd name="connsiteX2" fmla="*/ 2864272 w 2864272"/>
              <a:gd name="connsiteY2" fmla="*/ 2904885 h 3330882"/>
              <a:gd name="connsiteX3" fmla="*/ 757024 w 2864272"/>
              <a:gd name="connsiteY3" fmla="*/ 3330882 h 3330882"/>
              <a:gd name="connsiteX4" fmla="*/ 0 w 2864272"/>
              <a:gd name="connsiteY4" fmla="*/ 511596 h 3330882"/>
              <a:gd name="connsiteX0" fmla="*/ 0 w 2864272"/>
              <a:gd name="connsiteY0" fmla="*/ 510972 h 3330258"/>
              <a:gd name="connsiteX1" fmla="*/ 2351448 w 2864272"/>
              <a:gd name="connsiteY1" fmla="*/ 6288 h 3330258"/>
              <a:gd name="connsiteX2" fmla="*/ 2864272 w 2864272"/>
              <a:gd name="connsiteY2" fmla="*/ 2904261 h 3330258"/>
              <a:gd name="connsiteX3" fmla="*/ 757024 w 2864272"/>
              <a:gd name="connsiteY3" fmla="*/ 3330258 h 3330258"/>
              <a:gd name="connsiteX4" fmla="*/ 0 w 2864272"/>
              <a:gd name="connsiteY4" fmla="*/ 510972 h 3330258"/>
              <a:gd name="connsiteX0" fmla="*/ 0 w 2864272"/>
              <a:gd name="connsiteY0" fmla="*/ 509782 h 3329068"/>
              <a:gd name="connsiteX1" fmla="*/ 2351448 w 2864272"/>
              <a:gd name="connsiteY1" fmla="*/ 5098 h 3329068"/>
              <a:gd name="connsiteX2" fmla="*/ 2864272 w 2864272"/>
              <a:gd name="connsiteY2" fmla="*/ 2903071 h 3329068"/>
              <a:gd name="connsiteX3" fmla="*/ 757024 w 2864272"/>
              <a:gd name="connsiteY3" fmla="*/ 3329068 h 3329068"/>
              <a:gd name="connsiteX4" fmla="*/ 0 w 2864272"/>
              <a:gd name="connsiteY4" fmla="*/ 509782 h 3329068"/>
              <a:gd name="connsiteX0" fmla="*/ 0 w 2864272"/>
              <a:gd name="connsiteY0" fmla="*/ 510921 h 3330207"/>
              <a:gd name="connsiteX1" fmla="*/ 2351448 w 2864272"/>
              <a:gd name="connsiteY1" fmla="*/ 6237 h 3330207"/>
              <a:gd name="connsiteX2" fmla="*/ 2864272 w 2864272"/>
              <a:gd name="connsiteY2" fmla="*/ 2904210 h 3330207"/>
              <a:gd name="connsiteX3" fmla="*/ 757024 w 2864272"/>
              <a:gd name="connsiteY3" fmla="*/ 3330207 h 3330207"/>
              <a:gd name="connsiteX4" fmla="*/ 0 w 2864272"/>
              <a:gd name="connsiteY4" fmla="*/ 510921 h 3330207"/>
              <a:gd name="connsiteX0" fmla="*/ 5541 w 2869813"/>
              <a:gd name="connsiteY0" fmla="*/ 510921 h 3330207"/>
              <a:gd name="connsiteX1" fmla="*/ 2356989 w 2869813"/>
              <a:gd name="connsiteY1" fmla="*/ 6237 h 3330207"/>
              <a:gd name="connsiteX2" fmla="*/ 2869813 w 2869813"/>
              <a:gd name="connsiteY2" fmla="*/ 2904210 h 3330207"/>
              <a:gd name="connsiteX3" fmla="*/ 762565 w 2869813"/>
              <a:gd name="connsiteY3" fmla="*/ 3330207 h 3330207"/>
              <a:gd name="connsiteX4" fmla="*/ 5541 w 2869813"/>
              <a:gd name="connsiteY4" fmla="*/ 510921 h 3330207"/>
              <a:gd name="connsiteX0" fmla="*/ 20218 w 2884490"/>
              <a:gd name="connsiteY0" fmla="*/ 510921 h 3330207"/>
              <a:gd name="connsiteX1" fmla="*/ 2371666 w 2884490"/>
              <a:gd name="connsiteY1" fmla="*/ 6237 h 3330207"/>
              <a:gd name="connsiteX2" fmla="*/ 2884490 w 2884490"/>
              <a:gd name="connsiteY2" fmla="*/ 2904210 h 3330207"/>
              <a:gd name="connsiteX3" fmla="*/ 777242 w 2884490"/>
              <a:gd name="connsiteY3" fmla="*/ 3330207 h 3330207"/>
              <a:gd name="connsiteX4" fmla="*/ 20218 w 2884490"/>
              <a:gd name="connsiteY4" fmla="*/ 510921 h 3330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4490" h="3330207">
                <a:moveTo>
                  <a:pt x="20218" y="510921"/>
                </a:moveTo>
                <a:cubicBezTo>
                  <a:pt x="787754" y="122912"/>
                  <a:pt x="1658398" y="-34464"/>
                  <a:pt x="2371666" y="6237"/>
                </a:cubicBezTo>
                <a:cubicBezTo>
                  <a:pt x="2803089" y="529952"/>
                  <a:pt x="2884490" y="1734718"/>
                  <a:pt x="2884490" y="2904210"/>
                </a:cubicBezTo>
                <a:cubicBezTo>
                  <a:pt x="2366582" y="3097762"/>
                  <a:pt x="1845961" y="3294029"/>
                  <a:pt x="777242" y="3330207"/>
                </a:cubicBezTo>
                <a:cubicBezTo>
                  <a:pt x="20218" y="1527599"/>
                  <a:pt x="-47616" y="940573"/>
                  <a:pt x="20218" y="510921"/>
                </a:cubicBezTo>
                <a:close/>
              </a:path>
            </a:pathLst>
          </a:custGeom>
        </p:spPr>
        <p:txBody>
          <a:bodyPr anchor="ctr" anchorCtr="0"/>
          <a:lstStyle>
            <a:lvl1pPr algn="ctr">
              <a:lnSpc>
                <a:spcPts val="2067"/>
              </a:lnSpc>
              <a:spcBef>
                <a:spcPts val="0"/>
              </a:spcBef>
              <a:defRPr sz="1533" baseline="0">
                <a:latin typeface="+mj-lt"/>
              </a:defRPr>
            </a:lvl1pPr>
          </a:lstStyle>
          <a:p>
            <a:r>
              <a:rPr lang="de-CH"/>
              <a:t>Klicken Sie auf das Bild-Symbol in der Mitte um ein Bild hier zu platzier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5B907AE-511B-4F88-A82E-69DDFCDDF87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81551" y="1824563"/>
            <a:ext cx="6794500" cy="4417488"/>
          </a:xfrm>
        </p:spPr>
        <p:txBody>
          <a:bodyPr/>
          <a:lstStyle>
            <a:lvl5pPr>
              <a:defRPr/>
            </a:lvl5pPr>
            <a:lvl8pPr>
              <a:defRPr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4F1436F-238E-4485-BE86-198820D03222}"/>
              </a:ext>
            </a:extLst>
          </p:cNvPr>
          <p:cNvSpPr txBox="1"/>
          <p:nvPr userDrawn="1"/>
        </p:nvSpPr>
        <p:spPr>
          <a:xfrm>
            <a:off x="-3840000" y="4171202"/>
            <a:ext cx="3360000" cy="1714490"/>
          </a:xfrm>
          <a:prstGeom prst="rect">
            <a:avLst/>
          </a:prstGeom>
          <a:solidFill>
            <a:schemeClr val="accent2"/>
          </a:solidFill>
        </p:spPr>
        <p:txBody>
          <a:bodyPr wrap="square" lIns="144000" tIns="72000" rIns="144000" bIns="72000" rtlCol="0">
            <a:spAutoFit/>
          </a:bodyPr>
          <a:lstStyle/>
          <a:p>
            <a:r>
              <a:rPr lang="de-DE" sz="1133" b="0" kern="600">
                <a:solidFill>
                  <a:schemeClr val="bg1"/>
                </a:solidFill>
                <a:latin typeface="+mj-lt"/>
              </a:rPr>
              <a:t>Enthaltene Textebenen:</a:t>
            </a:r>
          </a:p>
          <a:p>
            <a:r>
              <a:rPr lang="de-DE" sz="1133" b="0" kern="600">
                <a:solidFill>
                  <a:schemeClr val="bg1"/>
                </a:solidFill>
                <a:latin typeface="+mn-lt"/>
              </a:rPr>
              <a:t>Ebene</a:t>
            </a: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 1 = Normaler Tex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2 = Auflist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3 = Auflist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4 = Nummerier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5 = Nummerier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6 = Untertitel mit Abstand</a:t>
            </a:r>
          </a:p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7 = Kleiner Text, fett (Legenden-Titel)</a:t>
            </a:r>
            <a:endParaRPr lang="de-CH" sz="1133" b="0" kern="600">
              <a:solidFill>
                <a:schemeClr val="bg1"/>
              </a:solidFill>
              <a:latin typeface="+mn-lt"/>
            </a:endParaRP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8 = Kleiner Text (Legenden)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90353422-C43D-45C6-9416-1431DEE1F232}"/>
              </a:ext>
            </a:extLst>
          </p:cNvPr>
          <p:cNvGrpSpPr/>
          <p:nvPr userDrawn="1"/>
        </p:nvGrpSpPr>
        <p:grpSpPr>
          <a:xfrm flipH="1">
            <a:off x="-3840000" y="313268"/>
            <a:ext cx="3360000" cy="3770250"/>
            <a:chOff x="-2880000" y="1428750"/>
            <a:chExt cx="2520000" cy="2827687"/>
          </a:xfrm>
        </p:grpSpPr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D5B29FCF-CE03-4B3A-818E-AADEFE4DFFF4}"/>
                </a:ext>
              </a:extLst>
            </p:cNvPr>
            <p:cNvSpPr txBox="1"/>
            <p:nvPr userDrawn="1"/>
          </p:nvSpPr>
          <p:spPr>
            <a:xfrm flipH="1">
              <a:off x="-2880000" y="1428750"/>
              <a:ext cx="2520000" cy="2827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108000" tIns="54000" rIns="108000" bIns="54000" rtlCol="0">
              <a:spAutoFit/>
            </a:bodyPr>
            <a:lstStyle/>
            <a:p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Bilder einfügen:</a:t>
              </a:r>
            </a:p>
            <a:p>
              <a:pPr marL="153592" indent="-153592">
                <a:buAutoNum type="arabicPeriod"/>
              </a:pPr>
              <a:r>
                <a:rPr lang="de-DE" sz="1133" b="0" kern="600" baseline="0">
                  <a:solidFill>
                    <a:schemeClr val="bg1"/>
                  </a:solidFill>
                </a:rPr>
                <a:t>Löschen Sie das ggf. bereits vorhandene Bild</a:t>
              </a:r>
            </a:p>
            <a:p>
              <a:pPr marL="153592" indent="-153592">
                <a:buAutoNum type="arabicPeriod"/>
              </a:pPr>
              <a:r>
                <a:rPr lang="de-DE" sz="1133" b="0" kern="600" baseline="0">
                  <a:solidFill>
                    <a:schemeClr val="bg1"/>
                  </a:solidFill>
                </a:rPr>
                <a:t>Klicken Sie auf das Bild-Symbol in der Mitte </a:t>
              </a:r>
              <a:br>
                <a:rPr lang="de-DE" sz="1133" b="0" kern="600" baseline="0">
                  <a:solidFill>
                    <a:schemeClr val="bg1"/>
                  </a:solidFill>
                </a:rPr>
              </a:br>
              <a:r>
                <a:rPr lang="de-DE" sz="1133" b="0" kern="600" baseline="0">
                  <a:solidFill>
                    <a:schemeClr val="bg1"/>
                  </a:solidFill>
                </a:rPr>
                <a:t>des Platzhalters</a:t>
              </a: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r>
                <a:rPr lang="de-DE" sz="1133" b="0" kern="600" baseline="0">
                  <a:solidFill>
                    <a:schemeClr val="bg1"/>
                  </a:solidFill>
                </a:rPr>
                <a:t>Nachdem Sie Ihr Bild platziert haben, können Sie es über »Bildtools -&gt; Zuschneiden« innerhalb der hier definierten »</a:t>
              </a:r>
              <a:r>
                <a:rPr lang="de-DE" sz="1133" b="0" kern="600" baseline="0" err="1">
                  <a:solidFill>
                    <a:schemeClr val="bg1"/>
                  </a:solidFill>
                </a:rPr>
                <a:t>Bildbox</a:t>
              </a:r>
              <a:r>
                <a:rPr lang="de-DE" sz="1133" b="0" kern="600" baseline="0">
                  <a:solidFill>
                    <a:schemeClr val="bg1"/>
                  </a:solidFill>
                </a:rPr>
                <a:t>« verschieben und/oder beschneiden. Die enthaltenen Hilfslinien helfen bei der richtigen Positionierung.</a:t>
              </a:r>
              <a:r>
                <a:rPr lang="de-CH" sz="1133" b="0" kern="600" baseline="0">
                  <a:solidFill>
                    <a:schemeClr val="bg1"/>
                  </a:solidFill>
                </a:rPr>
                <a:t> Durch Klicken auf »Einpassen« wird das Bild passend skaliert.</a:t>
              </a: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</p:txBody>
        </p:sp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AF6527C9-3662-4058-A994-1FF8CEA9A98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p:blipFill>
          <p:spPr>
            <a:xfrm flipH="1">
              <a:off x="-1589225" y="3001763"/>
              <a:ext cx="1088246" cy="114392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567066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2259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1 picture and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>
            <a:extLst>
              <a:ext uri="{FF2B5EF4-FFF2-40B4-BE49-F238E27FC236}">
                <a16:creationId xmlns:a16="http://schemas.microsoft.com/office/drawing/2014/main" id="{43EC237B-E88E-4FE5-BD57-9961FCFFFBF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1F3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ACA4B8EC-461A-4C07-A51F-7E60E14F5EA0}"/>
              </a:ext>
            </a:extLst>
          </p:cNvPr>
          <p:cNvSpPr/>
          <p:nvPr userDrawn="1"/>
        </p:nvSpPr>
        <p:spPr>
          <a:xfrm>
            <a:off x="0" y="313268"/>
            <a:ext cx="12192000" cy="8974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E4332158-D822-4D14-BD2A-5F6CE8BB2412}"/>
              </a:ext>
            </a:extLst>
          </p:cNvPr>
          <p:cNvSpPr/>
          <p:nvPr userDrawn="1"/>
        </p:nvSpPr>
        <p:spPr>
          <a:xfrm>
            <a:off x="0" y="313268"/>
            <a:ext cx="124800" cy="8974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50B1973B-7250-4E54-8EB2-F94573222A74}"/>
              </a:ext>
            </a:extLst>
          </p:cNvPr>
          <p:cNvGrpSpPr/>
          <p:nvPr userDrawn="1"/>
        </p:nvGrpSpPr>
        <p:grpSpPr>
          <a:xfrm>
            <a:off x="10136049" y="559792"/>
            <a:ext cx="1440000" cy="404419"/>
            <a:chOff x="-5709525" y="-5645283"/>
            <a:chExt cx="19213689" cy="5396089"/>
          </a:xfrm>
        </p:grpSpPr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B1542C2E-7059-4E3F-9965-C105A4F349C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5709525" y="-5645283"/>
              <a:ext cx="19213689" cy="5396089"/>
            </a:xfrm>
            <a:prstGeom prst="rect">
              <a:avLst/>
            </a:prstGeom>
          </p:spPr>
        </p:pic>
        <p:sp>
          <p:nvSpPr>
            <p:cNvPr id="32" name="Freeform 26">
              <a:extLst>
                <a:ext uri="{FF2B5EF4-FFF2-40B4-BE49-F238E27FC236}">
                  <a16:creationId xmlns:a16="http://schemas.microsoft.com/office/drawing/2014/main" id="{A3711BF2-A19C-4508-A7B9-EB1A1A330D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709525" y="-5645283"/>
              <a:ext cx="1287463" cy="1493837"/>
            </a:xfrm>
            <a:custGeom>
              <a:avLst/>
              <a:gdLst>
                <a:gd name="T0" fmla="*/ 86 w 114"/>
                <a:gd name="T1" fmla="*/ 0 h 132"/>
                <a:gd name="T2" fmla="*/ 1 w 114"/>
                <a:gd name="T3" fmla="*/ 20 h 132"/>
                <a:gd name="T4" fmla="*/ 0 w 114"/>
                <a:gd name="T5" fmla="*/ 31 h 132"/>
                <a:gd name="T6" fmla="*/ 31 w 114"/>
                <a:gd name="T7" fmla="*/ 132 h 132"/>
                <a:gd name="T8" fmla="*/ 114 w 114"/>
                <a:gd name="T9" fmla="*/ 115 h 132"/>
                <a:gd name="T10" fmla="*/ 114 w 114"/>
                <a:gd name="T11" fmla="*/ 106 h 132"/>
                <a:gd name="T12" fmla="*/ 94 w 114"/>
                <a:gd name="T13" fmla="*/ 0 h 132"/>
                <a:gd name="T14" fmla="*/ 86 w 114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32">
                  <a:moveTo>
                    <a:pt x="86" y="0"/>
                  </a:moveTo>
                  <a:cubicBezTo>
                    <a:pt x="52" y="0"/>
                    <a:pt x="25" y="8"/>
                    <a:pt x="1" y="20"/>
                  </a:cubicBezTo>
                  <a:cubicBezTo>
                    <a:pt x="1" y="23"/>
                    <a:pt x="0" y="25"/>
                    <a:pt x="0" y="31"/>
                  </a:cubicBezTo>
                  <a:cubicBezTo>
                    <a:pt x="0" y="56"/>
                    <a:pt x="18" y="102"/>
                    <a:pt x="31" y="132"/>
                  </a:cubicBezTo>
                  <a:cubicBezTo>
                    <a:pt x="56" y="132"/>
                    <a:pt x="92" y="125"/>
                    <a:pt x="114" y="115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81"/>
                    <a:pt x="113" y="24"/>
                    <a:pt x="94" y="0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sz="240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eingeben</a:t>
            </a:r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8486A62-8E09-4568-936F-59199FC6D1B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613836" y="6417600"/>
            <a:ext cx="9523765" cy="240000"/>
          </a:xfrm>
        </p:spPr>
        <p:txBody>
          <a:bodyPr/>
          <a:lstStyle>
            <a:lvl1pPr algn="l">
              <a:defRPr/>
            </a:lvl1pPr>
          </a:lstStyle>
          <a:p>
            <a:pPr algn="l"/>
            <a:endParaRPr lang="de-CH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2404CB0-61AA-4EEA-80F8-CFF91A4646C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B84BE2A-AF72-474C-A580-796179F45542}" type="slidenum">
              <a:rPr lang="de-CH" smtClean="0"/>
              <a:pPr/>
              <a:t>‹Nr.›</a:t>
            </a:fld>
            <a:endParaRPr lang="de-CH" kern="60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CCD68D62-2F79-4667-9D7D-08EC58AC9EE0}"/>
              </a:ext>
            </a:extLst>
          </p:cNvPr>
          <p:cNvSpPr txBox="1"/>
          <p:nvPr userDrawn="1"/>
        </p:nvSpPr>
        <p:spPr>
          <a:xfrm>
            <a:off x="-3840000" y="4171202"/>
            <a:ext cx="3360000" cy="1714490"/>
          </a:xfrm>
          <a:prstGeom prst="rect">
            <a:avLst/>
          </a:prstGeom>
          <a:solidFill>
            <a:schemeClr val="accent2"/>
          </a:solidFill>
        </p:spPr>
        <p:txBody>
          <a:bodyPr wrap="square" lIns="144000" tIns="72000" rIns="144000" bIns="72000" rtlCol="0">
            <a:spAutoFit/>
          </a:bodyPr>
          <a:lstStyle/>
          <a:p>
            <a:r>
              <a:rPr lang="de-DE" sz="1133" b="0" kern="600">
                <a:solidFill>
                  <a:schemeClr val="bg1"/>
                </a:solidFill>
                <a:latin typeface="+mj-lt"/>
              </a:rPr>
              <a:t>Enthaltene Textebenen:</a:t>
            </a:r>
          </a:p>
          <a:p>
            <a:r>
              <a:rPr lang="de-DE" sz="1133" b="0" kern="600">
                <a:solidFill>
                  <a:schemeClr val="bg1"/>
                </a:solidFill>
                <a:latin typeface="+mn-lt"/>
              </a:rPr>
              <a:t>Ebene</a:t>
            </a: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 1 = Normaler Tex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2 = Auflist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3 = Auflist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4 = Nummerier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5 = Nummerier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6 = Untertitel mit Abstand</a:t>
            </a:r>
          </a:p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7 = Kleiner Text, fett (Legenden-Titel)</a:t>
            </a:r>
            <a:endParaRPr lang="de-CH" sz="1133" b="0" kern="600">
              <a:solidFill>
                <a:schemeClr val="bg1"/>
              </a:solidFill>
              <a:latin typeface="+mn-lt"/>
            </a:endParaRP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8 = Kleiner Text (Legenden)</a:t>
            </a:r>
          </a:p>
        </p:txBody>
      </p:sp>
      <p:sp>
        <p:nvSpPr>
          <p:cNvPr id="23" name="Bildplatzhalter 6">
            <a:extLst>
              <a:ext uri="{FF2B5EF4-FFF2-40B4-BE49-F238E27FC236}">
                <a16:creationId xmlns:a16="http://schemas.microsoft.com/office/drawing/2014/main" id="{F2D128BF-FCAC-416E-B799-ECDFF370978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248398" y="1824563"/>
            <a:ext cx="5327655" cy="4417488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ts val="2067"/>
              </a:lnSpc>
              <a:spcBef>
                <a:spcPts val="0"/>
              </a:spcBef>
              <a:defRPr sz="1533" baseline="0">
                <a:latin typeface="+mj-lt"/>
              </a:defRPr>
            </a:lvl1pPr>
          </a:lstStyle>
          <a:p>
            <a:r>
              <a:rPr lang="de-CH"/>
              <a:t>Klicken Sie auf das Bild-Symbol in der Mitte um ein Bild hier zu platzieren</a:t>
            </a:r>
          </a:p>
        </p:txBody>
      </p:sp>
      <p:sp>
        <p:nvSpPr>
          <p:cNvPr id="24" name="Textplatzhalter 10">
            <a:extLst>
              <a:ext uri="{FF2B5EF4-FFF2-40B4-BE49-F238E27FC236}">
                <a16:creationId xmlns:a16="http://schemas.microsoft.com/office/drawing/2014/main" id="{31324497-E7BC-4D2B-8081-EE46EACC4B6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13837" y="1824563"/>
            <a:ext cx="5327655" cy="4417488"/>
          </a:xfrm>
        </p:spPr>
        <p:txBody>
          <a:bodyPr/>
          <a:lstStyle>
            <a:lvl5pPr>
              <a:defRPr/>
            </a:lvl5pPr>
            <a:lvl8pPr>
              <a:defRPr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A8235AFC-60A4-42CE-AE8E-C71A806BF5AF}"/>
              </a:ext>
            </a:extLst>
          </p:cNvPr>
          <p:cNvGrpSpPr/>
          <p:nvPr userDrawn="1"/>
        </p:nvGrpSpPr>
        <p:grpSpPr>
          <a:xfrm flipH="1">
            <a:off x="-3840000" y="313268"/>
            <a:ext cx="3360000" cy="3770250"/>
            <a:chOff x="-2880000" y="1428750"/>
            <a:chExt cx="2520000" cy="2827687"/>
          </a:xfrm>
        </p:grpSpPr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E91EF629-F7BD-4E04-A32A-5DBDF0FC537A}"/>
                </a:ext>
              </a:extLst>
            </p:cNvPr>
            <p:cNvSpPr txBox="1"/>
            <p:nvPr userDrawn="1"/>
          </p:nvSpPr>
          <p:spPr>
            <a:xfrm flipH="1">
              <a:off x="-2880000" y="1428750"/>
              <a:ext cx="2520000" cy="2827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108000" tIns="54000" rIns="108000" bIns="54000" rtlCol="0">
              <a:spAutoFit/>
            </a:bodyPr>
            <a:lstStyle/>
            <a:p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Bilder einfügen:</a:t>
              </a:r>
            </a:p>
            <a:p>
              <a:pPr marL="153592" indent="-153592">
                <a:buAutoNum type="arabicPeriod"/>
              </a:pPr>
              <a:r>
                <a:rPr lang="de-DE" sz="1133" b="0" kern="600" baseline="0">
                  <a:solidFill>
                    <a:schemeClr val="bg1"/>
                  </a:solidFill>
                </a:rPr>
                <a:t>Löschen Sie das ggf. bereits vorhandene Bild</a:t>
              </a:r>
            </a:p>
            <a:p>
              <a:pPr marL="153592" indent="-153592">
                <a:buAutoNum type="arabicPeriod"/>
              </a:pPr>
              <a:r>
                <a:rPr lang="de-DE" sz="1133" b="0" kern="600" baseline="0">
                  <a:solidFill>
                    <a:schemeClr val="bg1"/>
                  </a:solidFill>
                </a:rPr>
                <a:t>Klicken Sie auf das Bild-Symbol in der Mitte </a:t>
              </a:r>
              <a:br>
                <a:rPr lang="de-DE" sz="1133" b="0" kern="600" baseline="0">
                  <a:solidFill>
                    <a:schemeClr val="bg1"/>
                  </a:solidFill>
                </a:rPr>
              </a:br>
              <a:r>
                <a:rPr lang="de-DE" sz="1133" b="0" kern="600" baseline="0">
                  <a:solidFill>
                    <a:schemeClr val="bg1"/>
                  </a:solidFill>
                </a:rPr>
                <a:t>des Platzhalters</a:t>
              </a: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r>
                <a:rPr lang="de-DE" sz="1133" b="0" kern="600" baseline="0">
                  <a:solidFill>
                    <a:schemeClr val="bg1"/>
                  </a:solidFill>
                </a:rPr>
                <a:t>Nachdem Sie Ihr Bild platziert haben, können Sie es über »Bildtools -&gt; Zuschneiden« innerhalb der hier definierten »</a:t>
              </a:r>
              <a:r>
                <a:rPr lang="de-DE" sz="1133" b="0" kern="600" baseline="0" err="1">
                  <a:solidFill>
                    <a:schemeClr val="bg1"/>
                  </a:solidFill>
                </a:rPr>
                <a:t>Bildbox</a:t>
              </a:r>
              <a:r>
                <a:rPr lang="de-DE" sz="1133" b="0" kern="600" baseline="0">
                  <a:solidFill>
                    <a:schemeClr val="bg1"/>
                  </a:solidFill>
                </a:rPr>
                <a:t>« verschieben und/oder beschneiden. Die enthaltenen Hilfslinien helfen bei der richtigen Positionierung.</a:t>
              </a:r>
              <a:r>
                <a:rPr lang="de-CH" sz="1133" b="0" kern="600" baseline="0">
                  <a:solidFill>
                    <a:schemeClr val="bg1"/>
                  </a:solidFill>
                </a:rPr>
                <a:t> Durch Klicken auf »Einpassen« wird das Bild passend skaliert.</a:t>
              </a: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E93EA492-994F-4A49-996E-D851640C5B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p:blipFill>
          <p:spPr>
            <a:xfrm flipH="1">
              <a:off x="-1589225" y="3001763"/>
              <a:ext cx="1088246" cy="114392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4193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85">
          <p15:clr>
            <a:srgbClr val="FBAE40"/>
          </p15:clr>
        </p15:guide>
        <p15:guide id="2" orient="horz" pos="1829">
          <p15:clr>
            <a:srgbClr val="FBAE40"/>
          </p15:clr>
        </p15:guide>
        <p15:guide id="3" pos="2807">
          <p15:clr>
            <a:srgbClr val="FBAE40"/>
          </p15:clr>
        </p15:guide>
        <p15:guide id="4" pos="2952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1 shape and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>
            <a:extLst>
              <a:ext uri="{FF2B5EF4-FFF2-40B4-BE49-F238E27FC236}">
                <a16:creationId xmlns:a16="http://schemas.microsoft.com/office/drawing/2014/main" id="{88D3D1E1-17A4-47DC-9528-97498B70D95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1F3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34B7E63D-A795-4C5F-816D-9092579F53C0}"/>
              </a:ext>
            </a:extLst>
          </p:cNvPr>
          <p:cNvSpPr/>
          <p:nvPr userDrawn="1"/>
        </p:nvSpPr>
        <p:spPr>
          <a:xfrm>
            <a:off x="0" y="313268"/>
            <a:ext cx="12192000" cy="8974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1EDD600C-1942-4012-BB0E-5AF8E9A87AB5}"/>
              </a:ext>
            </a:extLst>
          </p:cNvPr>
          <p:cNvSpPr/>
          <p:nvPr userDrawn="1"/>
        </p:nvSpPr>
        <p:spPr>
          <a:xfrm>
            <a:off x="0" y="313268"/>
            <a:ext cx="124800" cy="8974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CEF133EA-A09F-4144-B542-D1A3A7EC592A}"/>
              </a:ext>
            </a:extLst>
          </p:cNvPr>
          <p:cNvGrpSpPr/>
          <p:nvPr userDrawn="1"/>
        </p:nvGrpSpPr>
        <p:grpSpPr>
          <a:xfrm>
            <a:off x="10136049" y="559792"/>
            <a:ext cx="1440000" cy="404419"/>
            <a:chOff x="-5709525" y="-5645283"/>
            <a:chExt cx="19213689" cy="5396089"/>
          </a:xfrm>
        </p:grpSpPr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89C49703-2429-465D-A755-0BFEE48B834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5709525" y="-5645283"/>
              <a:ext cx="19213689" cy="5396089"/>
            </a:xfrm>
            <a:prstGeom prst="rect">
              <a:avLst/>
            </a:prstGeom>
          </p:spPr>
        </p:pic>
        <p:sp>
          <p:nvSpPr>
            <p:cNvPr id="32" name="Freeform 26">
              <a:extLst>
                <a:ext uri="{FF2B5EF4-FFF2-40B4-BE49-F238E27FC236}">
                  <a16:creationId xmlns:a16="http://schemas.microsoft.com/office/drawing/2014/main" id="{8C1A89DC-EAB4-4531-857B-1B88143783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709525" y="-5645283"/>
              <a:ext cx="1287463" cy="1493837"/>
            </a:xfrm>
            <a:custGeom>
              <a:avLst/>
              <a:gdLst>
                <a:gd name="T0" fmla="*/ 86 w 114"/>
                <a:gd name="T1" fmla="*/ 0 h 132"/>
                <a:gd name="T2" fmla="*/ 1 w 114"/>
                <a:gd name="T3" fmla="*/ 20 h 132"/>
                <a:gd name="T4" fmla="*/ 0 w 114"/>
                <a:gd name="T5" fmla="*/ 31 h 132"/>
                <a:gd name="T6" fmla="*/ 31 w 114"/>
                <a:gd name="T7" fmla="*/ 132 h 132"/>
                <a:gd name="T8" fmla="*/ 114 w 114"/>
                <a:gd name="T9" fmla="*/ 115 h 132"/>
                <a:gd name="T10" fmla="*/ 114 w 114"/>
                <a:gd name="T11" fmla="*/ 106 h 132"/>
                <a:gd name="T12" fmla="*/ 94 w 114"/>
                <a:gd name="T13" fmla="*/ 0 h 132"/>
                <a:gd name="T14" fmla="*/ 86 w 114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32">
                  <a:moveTo>
                    <a:pt x="86" y="0"/>
                  </a:moveTo>
                  <a:cubicBezTo>
                    <a:pt x="52" y="0"/>
                    <a:pt x="25" y="8"/>
                    <a:pt x="1" y="20"/>
                  </a:cubicBezTo>
                  <a:cubicBezTo>
                    <a:pt x="1" y="23"/>
                    <a:pt x="0" y="25"/>
                    <a:pt x="0" y="31"/>
                  </a:cubicBezTo>
                  <a:cubicBezTo>
                    <a:pt x="0" y="56"/>
                    <a:pt x="18" y="102"/>
                    <a:pt x="31" y="132"/>
                  </a:cubicBezTo>
                  <a:cubicBezTo>
                    <a:pt x="56" y="132"/>
                    <a:pt x="92" y="125"/>
                    <a:pt x="114" y="115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81"/>
                    <a:pt x="113" y="24"/>
                    <a:pt x="94" y="0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sz="240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eingeben</a:t>
            </a:r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E3894A0-E343-4559-A922-B591527E420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613829" y="6417600"/>
            <a:ext cx="9523771" cy="240000"/>
          </a:xfrm>
        </p:spPr>
        <p:txBody>
          <a:bodyPr/>
          <a:lstStyle>
            <a:lvl1pPr algn="l">
              <a:defRPr/>
            </a:lvl1pPr>
          </a:lstStyle>
          <a:p>
            <a:pPr algn="l"/>
            <a:endParaRPr lang="de-CH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C9A4044-7C30-4E00-9972-A0866BF788B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B84BE2A-AF72-474C-A580-796179F45542}" type="slidenum">
              <a:rPr lang="de-CH" smtClean="0"/>
              <a:pPr/>
              <a:t>‹Nr.›</a:t>
            </a:fld>
            <a:endParaRPr lang="de-CH" kern="600"/>
          </a:p>
        </p:txBody>
      </p:sp>
      <p:sp>
        <p:nvSpPr>
          <p:cNvPr id="15" name="Bildplatzhalter 6">
            <a:extLst>
              <a:ext uri="{FF2B5EF4-FFF2-40B4-BE49-F238E27FC236}">
                <a16:creationId xmlns:a16="http://schemas.microsoft.com/office/drawing/2014/main" id="{06BF718F-FC5B-4EDB-A31B-2EA0B91ED11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7730064" y="1816247"/>
            <a:ext cx="3845987" cy="4440276"/>
          </a:xfrm>
          <a:custGeom>
            <a:avLst/>
            <a:gdLst>
              <a:gd name="connsiteX0" fmla="*/ 0 w 3995741"/>
              <a:gd name="connsiteY0" fmla="*/ 0 h 3313116"/>
              <a:gd name="connsiteX1" fmla="*/ 3995741 w 3995741"/>
              <a:gd name="connsiteY1" fmla="*/ 0 h 3313116"/>
              <a:gd name="connsiteX2" fmla="*/ 3995741 w 3995741"/>
              <a:gd name="connsiteY2" fmla="*/ 3313116 h 3313116"/>
              <a:gd name="connsiteX3" fmla="*/ 0 w 3995741"/>
              <a:gd name="connsiteY3" fmla="*/ 3313116 h 3313116"/>
              <a:gd name="connsiteX4" fmla="*/ 0 w 3995741"/>
              <a:gd name="connsiteY4" fmla="*/ 0 h 3313116"/>
              <a:gd name="connsiteX0" fmla="*/ 24421 w 3995741"/>
              <a:gd name="connsiteY0" fmla="*/ 504684 h 3313116"/>
              <a:gd name="connsiteX1" fmla="*/ 3995741 w 3995741"/>
              <a:gd name="connsiteY1" fmla="*/ 0 h 3313116"/>
              <a:gd name="connsiteX2" fmla="*/ 3995741 w 3995741"/>
              <a:gd name="connsiteY2" fmla="*/ 3313116 h 3313116"/>
              <a:gd name="connsiteX3" fmla="*/ 0 w 3995741"/>
              <a:gd name="connsiteY3" fmla="*/ 3313116 h 3313116"/>
              <a:gd name="connsiteX4" fmla="*/ 24421 w 3995741"/>
              <a:gd name="connsiteY4" fmla="*/ 504684 h 3313116"/>
              <a:gd name="connsiteX0" fmla="*/ 24421 w 3995741"/>
              <a:gd name="connsiteY0" fmla="*/ 504684 h 3313116"/>
              <a:gd name="connsiteX1" fmla="*/ 2375869 w 3995741"/>
              <a:gd name="connsiteY1" fmla="*/ 0 h 3313116"/>
              <a:gd name="connsiteX2" fmla="*/ 3995741 w 3995741"/>
              <a:gd name="connsiteY2" fmla="*/ 3313116 h 3313116"/>
              <a:gd name="connsiteX3" fmla="*/ 0 w 3995741"/>
              <a:gd name="connsiteY3" fmla="*/ 3313116 h 3313116"/>
              <a:gd name="connsiteX4" fmla="*/ 24421 w 3995741"/>
              <a:gd name="connsiteY4" fmla="*/ 504684 h 3313116"/>
              <a:gd name="connsiteX0" fmla="*/ 24421 w 2888693"/>
              <a:gd name="connsiteY0" fmla="*/ 504684 h 3313116"/>
              <a:gd name="connsiteX1" fmla="*/ 2375869 w 2888693"/>
              <a:gd name="connsiteY1" fmla="*/ 0 h 3313116"/>
              <a:gd name="connsiteX2" fmla="*/ 2888693 w 2888693"/>
              <a:gd name="connsiteY2" fmla="*/ 2897973 h 3313116"/>
              <a:gd name="connsiteX3" fmla="*/ 0 w 2888693"/>
              <a:gd name="connsiteY3" fmla="*/ 3313116 h 3313116"/>
              <a:gd name="connsiteX4" fmla="*/ 24421 w 2888693"/>
              <a:gd name="connsiteY4" fmla="*/ 504684 h 3313116"/>
              <a:gd name="connsiteX0" fmla="*/ 0 w 2864272"/>
              <a:gd name="connsiteY0" fmla="*/ 504684 h 3323970"/>
              <a:gd name="connsiteX1" fmla="*/ 2351448 w 2864272"/>
              <a:gd name="connsiteY1" fmla="*/ 0 h 3323970"/>
              <a:gd name="connsiteX2" fmla="*/ 2864272 w 2864272"/>
              <a:gd name="connsiteY2" fmla="*/ 2897973 h 3323970"/>
              <a:gd name="connsiteX3" fmla="*/ 757024 w 2864272"/>
              <a:gd name="connsiteY3" fmla="*/ 3323970 h 3323970"/>
              <a:gd name="connsiteX4" fmla="*/ 0 w 2864272"/>
              <a:gd name="connsiteY4" fmla="*/ 504684 h 3323970"/>
              <a:gd name="connsiteX0" fmla="*/ 0 w 2864272"/>
              <a:gd name="connsiteY0" fmla="*/ 504684 h 3323970"/>
              <a:gd name="connsiteX1" fmla="*/ 2351448 w 2864272"/>
              <a:gd name="connsiteY1" fmla="*/ 0 h 3323970"/>
              <a:gd name="connsiteX2" fmla="*/ 2864272 w 2864272"/>
              <a:gd name="connsiteY2" fmla="*/ 2897973 h 3323970"/>
              <a:gd name="connsiteX3" fmla="*/ 757024 w 2864272"/>
              <a:gd name="connsiteY3" fmla="*/ 3323970 h 3323970"/>
              <a:gd name="connsiteX4" fmla="*/ 0 w 2864272"/>
              <a:gd name="connsiteY4" fmla="*/ 504684 h 3323970"/>
              <a:gd name="connsiteX0" fmla="*/ 0 w 2864272"/>
              <a:gd name="connsiteY0" fmla="*/ 504684 h 3323970"/>
              <a:gd name="connsiteX1" fmla="*/ 2351448 w 2864272"/>
              <a:gd name="connsiteY1" fmla="*/ 0 h 3323970"/>
              <a:gd name="connsiteX2" fmla="*/ 2864272 w 2864272"/>
              <a:gd name="connsiteY2" fmla="*/ 2897973 h 3323970"/>
              <a:gd name="connsiteX3" fmla="*/ 757024 w 2864272"/>
              <a:gd name="connsiteY3" fmla="*/ 3323970 h 3323970"/>
              <a:gd name="connsiteX4" fmla="*/ 0 w 2864272"/>
              <a:gd name="connsiteY4" fmla="*/ 504684 h 3323970"/>
              <a:gd name="connsiteX0" fmla="*/ 0 w 2864272"/>
              <a:gd name="connsiteY0" fmla="*/ 504684 h 3323970"/>
              <a:gd name="connsiteX1" fmla="*/ 2351448 w 2864272"/>
              <a:gd name="connsiteY1" fmla="*/ 0 h 3323970"/>
              <a:gd name="connsiteX2" fmla="*/ 2864272 w 2864272"/>
              <a:gd name="connsiteY2" fmla="*/ 2897973 h 3323970"/>
              <a:gd name="connsiteX3" fmla="*/ 757024 w 2864272"/>
              <a:gd name="connsiteY3" fmla="*/ 3323970 h 3323970"/>
              <a:gd name="connsiteX4" fmla="*/ 0 w 2864272"/>
              <a:gd name="connsiteY4" fmla="*/ 504684 h 3323970"/>
              <a:gd name="connsiteX0" fmla="*/ 0 w 2864272"/>
              <a:gd name="connsiteY0" fmla="*/ 504684 h 3323970"/>
              <a:gd name="connsiteX1" fmla="*/ 2351448 w 2864272"/>
              <a:gd name="connsiteY1" fmla="*/ 0 h 3323970"/>
              <a:gd name="connsiteX2" fmla="*/ 2864272 w 2864272"/>
              <a:gd name="connsiteY2" fmla="*/ 2897973 h 3323970"/>
              <a:gd name="connsiteX3" fmla="*/ 757024 w 2864272"/>
              <a:gd name="connsiteY3" fmla="*/ 3323970 h 3323970"/>
              <a:gd name="connsiteX4" fmla="*/ 0 w 2864272"/>
              <a:gd name="connsiteY4" fmla="*/ 504684 h 3323970"/>
              <a:gd name="connsiteX0" fmla="*/ 0 w 2866924"/>
              <a:gd name="connsiteY0" fmla="*/ 504684 h 3323970"/>
              <a:gd name="connsiteX1" fmla="*/ 2351448 w 2866924"/>
              <a:gd name="connsiteY1" fmla="*/ 0 h 3323970"/>
              <a:gd name="connsiteX2" fmla="*/ 2864272 w 2866924"/>
              <a:gd name="connsiteY2" fmla="*/ 2897973 h 3323970"/>
              <a:gd name="connsiteX3" fmla="*/ 757024 w 2866924"/>
              <a:gd name="connsiteY3" fmla="*/ 3323970 h 3323970"/>
              <a:gd name="connsiteX4" fmla="*/ 0 w 2866924"/>
              <a:gd name="connsiteY4" fmla="*/ 504684 h 3323970"/>
              <a:gd name="connsiteX0" fmla="*/ 0 w 2870898"/>
              <a:gd name="connsiteY0" fmla="*/ 504684 h 3323970"/>
              <a:gd name="connsiteX1" fmla="*/ 2351448 w 2870898"/>
              <a:gd name="connsiteY1" fmla="*/ 0 h 3323970"/>
              <a:gd name="connsiteX2" fmla="*/ 2864272 w 2870898"/>
              <a:gd name="connsiteY2" fmla="*/ 2897973 h 3323970"/>
              <a:gd name="connsiteX3" fmla="*/ 757024 w 2870898"/>
              <a:gd name="connsiteY3" fmla="*/ 3323970 h 3323970"/>
              <a:gd name="connsiteX4" fmla="*/ 0 w 2870898"/>
              <a:gd name="connsiteY4" fmla="*/ 504684 h 3323970"/>
              <a:gd name="connsiteX0" fmla="*/ 0 w 2864272"/>
              <a:gd name="connsiteY0" fmla="*/ 504684 h 3323970"/>
              <a:gd name="connsiteX1" fmla="*/ 2351448 w 2864272"/>
              <a:gd name="connsiteY1" fmla="*/ 0 h 3323970"/>
              <a:gd name="connsiteX2" fmla="*/ 2864272 w 2864272"/>
              <a:gd name="connsiteY2" fmla="*/ 2897973 h 3323970"/>
              <a:gd name="connsiteX3" fmla="*/ 757024 w 2864272"/>
              <a:gd name="connsiteY3" fmla="*/ 3323970 h 3323970"/>
              <a:gd name="connsiteX4" fmla="*/ 0 w 2864272"/>
              <a:gd name="connsiteY4" fmla="*/ 504684 h 3323970"/>
              <a:gd name="connsiteX0" fmla="*/ 0 w 2864272"/>
              <a:gd name="connsiteY0" fmla="*/ 508928 h 3328214"/>
              <a:gd name="connsiteX1" fmla="*/ 2351448 w 2864272"/>
              <a:gd name="connsiteY1" fmla="*/ 4244 h 3328214"/>
              <a:gd name="connsiteX2" fmla="*/ 2864272 w 2864272"/>
              <a:gd name="connsiteY2" fmla="*/ 2902217 h 3328214"/>
              <a:gd name="connsiteX3" fmla="*/ 757024 w 2864272"/>
              <a:gd name="connsiteY3" fmla="*/ 3328214 h 3328214"/>
              <a:gd name="connsiteX4" fmla="*/ 0 w 2864272"/>
              <a:gd name="connsiteY4" fmla="*/ 508928 h 3328214"/>
              <a:gd name="connsiteX0" fmla="*/ 0 w 2864272"/>
              <a:gd name="connsiteY0" fmla="*/ 511596 h 3330882"/>
              <a:gd name="connsiteX1" fmla="*/ 2351448 w 2864272"/>
              <a:gd name="connsiteY1" fmla="*/ 6912 h 3330882"/>
              <a:gd name="connsiteX2" fmla="*/ 2864272 w 2864272"/>
              <a:gd name="connsiteY2" fmla="*/ 2904885 h 3330882"/>
              <a:gd name="connsiteX3" fmla="*/ 757024 w 2864272"/>
              <a:gd name="connsiteY3" fmla="*/ 3330882 h 3330882"/>
              <a:gd name="connsiteX4" fmla="*/ 0 w 2864272"/>
              <a:gd name="connsiteY4" fmla="*/ 511596 h 3330882"/>
              <a:gd name="connsiteX0" fmla="*/ 0 w 2864272"/>
              <a:gd name="connsiteY0" fmla="*/ 510972 h 3330258"/>
              <a:gd name="connsiteX1" fmla="*/ 2351448 w 2864272"/>
              <a:gd name="connsiteY1" fmla="*/ 6288 h 3330258"/>
              <a:gd name="connsiteX2" fmla="*/ 2864272 w 2864272"/>
              <a:gd name="connsiteY2" fmla="*/ 2904261 h 3330258"/>
              <a:gd name="connsiteX3" fmla="*/ 757024 w 2864272"/>
              <a:gd name="connsiteY3" fmla="*/ 3330258 h 3330258"/>
              <a:gd name="connsiteX4" fmla="*/ 0 w 2864272"/>
              <a:gd name="connsiteY4" fmla="*/ 510972 h 3330258"/>
              <a:gd name="connsiteX0" fmla="*/ 0 w 2864272"/>
              <a:gd name="connsiteY0" fmla="*/ 509782 h 3329068"/>
              <a:gd name="connsiteX1" fmla="*/ 2351448 w 2864272"/>
              <a:gd name="connsiteY1" fmla="*/ 5098 h 3329068"/>
              <a:gd name="connsiteX2" fmla="*/ 2864272 w 2864272"/>
              <a:gd name="connsiteY2" fmla="*/ 2903071 h 3329068"/>
              <a:gd name="connsiteX3" fmla="*/ 757024 w 2864272"/>
              <a:gd name="connsiteY3" fmla="*/ 3329068 h 3329068"/>
              <a:gd name="connsiteX4" fmla="*/ 0 w 2864272"/>
              <a:gd name="connsiteY4" fmla="*/ 509782 h 3329068"/>
              <a:gd name="connsiteX0" fmla="*/ 0 w 2864272"/>
              <a:gd name="connsiteY0" fmla="*/ 510921 h 3330207"/>
              <a:gd name="connsiteX1" fmla="*/ 2351448 w 2864272"/>
              <a:gd name="connsiteY1" fmla="*/ 6237 h 3330207"/>
              <a:gd name="connsiteX2" fmla="*/ 2864272 w 2864272"/>
              <a:gd name="connsiteY2" fmla="*/ 2904210 h 3330207"/>
              <a:gd name="connsiteX3" fmla="*/ 757024 w 2864272"/>
              <a:gd name="connsiteY3" fmla="*/ 3330207 h 3330207"/>
              <a:gd name="connsiteX4" fmla="*/ 0 w 2864272"/>
              <a:gd name="connsiteY4" fmla="*/ 510921 h 3330207"/>
              <a:gd name="connsiteX0" fmla="*/ 5541 w 2869813"/>
              <a:gd name="connsiteY0" fmla="*/ 510921 h 3330207"/>
              <a:gd name="connsiteX1" fmla="*/ 2356989 w 2869813"/>
              <a:gd name="connsiteY1" fmla="*/ 6237 h 3330207"/>
              <a:gd name="connsiteX2" fmla="*/ 2869813 w 2869813"/>
              <a:gd name="connsiteY2" fmla="*/ 2904210 h 3330207"/>
              <a:gd name="connsiteX3" fmla="*/ 762565 w 2869813"/>
              <a:gd name="connsiteY3" fmla="*/ 3330207 h 3330207"/>
              <a:gd name="connsiteX4" fmla="*/ 5541 w 2869813"/>
              <a:gd name="connsiteY4" fmla="*/ 510921 h 3330207"/>
              <a:gd name="connsiteX0" fmla="*/ 20218 w 2884490"/>
              <a:gd name="connsiteY0" fmla="*/ 510921 h 3330207"/>
              <a:gd name="connsiteX1" fmla="*/ 2371666 w 2884490"/>
              <a:gd name="connsiteY1" fmla="*/ 6237 h 3330207"/>
              <a:gd name="connsiteX2" fmla="*/ 2884490 w 2884490"/>
              <a:gd name="connsiteY2" fmla="*/ 2904210 h 3330207"/>
              <a:gd name="connsiteX3" fmla="*/ 777242 w 2884490"/>
              <a:gd name="connsiteY3" fmla="*/ 3330207 h 3330207"/>
              <a:gd name="connsiteX4" fmla="*/ 20218 w 2884490"/>
              <a:gd name="connsiteY4" fmla="*/ 510921 h 3330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4490" h="3330207">
                <a:moveTo>
                  <a:pt x="20218" y="510921"/>
                </a:moveTo>
                <a:cubicBezTo>
                  <a:pt x="787754" y="122912"/>
                  <a:pt x="1658398" y="-34464"/>
                  <a:pt x="2371666" y="6237"/>
                </a:cubicBezTo>
                <a:cubicBezTo>
                  <a:pt x="2803089" y="529952"/>
                  <a:pt x="2884490" y="1734718"/>
                  <a:pt x="2884490" y="2904210"/>
                </a:cubicBezTo>
                <a:cubicBezTo>
                  <a:pt x="2366582" y="3097762"/>
                  <a:pt x="1845961" y="3294029"/>
                  <a:pt x="777242" y="3330207"/>
                </a:cubicBezTo>
                <a:cubicBezTo>
                  <a:pt x="20218" y="1527599"/>
                  <a:pt x="-47616" y="940573"/>
                  <a:pt x="20218" y="510921"/>
                </a:cubicBezTo>
                <a:close/>
              </a:path>
            </a:pathLst>
          </a:custGeom>
        </p:spPr>
        <p:txBody>
          <a:bodyPr anchor="ctr" anchorCtr="0"/>
          <a:lstStyle>
            <a:lvl1pPr algn="ctr">
              <a:lnSpc>
                <a:spcPts val="2067"/>
              </a:lnSpc>
              <a:spcBef>
                <a:spcPts val="0"/>
              </a:spcBef>
              <a:defRPr sz="1533" baseline="0">
                <a:latin typeface="+mj-lt"/>
              </a:defRPr>
            </a:lvl1pPr>
          </a:lstStyle>
          <a:p>
            <a:r>
              <a:rPr lang="de-CH"/>
              <a:t>Klicken Sie auf das Bild-Symbol in der Mitte um ein Bild hier zu platzier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5B907AE-511B-4F88-A82E-69DDFCDDF87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13835" y="1824563"/>
            <a:ext cx="6796616" cy="4417488"/>
          </a:xfrm>
        </p:spPr>
        <p:txBody>
          <a:bodyPr/>
          <a:lstStyle>
            <a:lvl5pPr>
              <a:defRPr/>
            </a:lvl5pPr>
            <a:lvl8pPr>
              <a:defRPr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4F1436F-238E-4485-BE86-198820D03222}"/>
              </a:ext>
            </a:extLst>
          </p:cNvPr>
          <p:cNvSpPr txBox="1"/>
          <p:nvPr userDrawn="1"/>
        </p:nvSpPr>
        <p:spPr>
          <a:xfrm>
            <a:off x="-3840000" y="4171202"/>
            <a:ext cx="3360000" cy="1714490"/>
          </a:xfrm>
          <a:prstGeom prst="rect">
            <a:avLst/>
          </a:prstGeom>
          <a:solidFill>
            <a:schemeClr val="accent2"/>
          </a:solidFill>
        </p:spPr>
        <p:txBody>
          <a:bodyPr wrap="square" lIns="144000" tIns="72000" rIns="144000" bIns="72000" rtlCol="0">
            <a:spAutoFit/>
          </a:bodyPr>
          <a:lstStyle/>
          <a:p>
            <a:r>
              <a:rPr lang="de-DE" sz="1133" b="0" kern="600">
                <a:solidFill>
                  <a:schemeClr val="bg1"/>
                </a:solidFill>
                <a:latin typeface="+mj-lt"/>
              </a:rPr>
              <a:t>Enthaltene Textebenen:</a:t>
            </a:r>
          </a:p>
          <a:p>
            <a:r>
              <a:rPr lang="de-DE" sz="1133" b="0" kern="600">
                <a:solidFill>
                  <a:schemeClr val="bg1"/>
                </a:solidFill>
                <a:latin typeface="+mn-lt"/>
              </a:rPr>
              <a:t>Ebene</a:t>
            </a: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 1 = Normaler Tex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2 = Auflist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3 = Auflist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4 = Nummerier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5 = Nummerier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6 = Untertitel mit Abstand</a:t>
            </a:r>
          </a:p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7 = Kleiner Text, fett (Legenden-Titel)</a:t>
            </a:r>
            <a:endParaRPr lang="de-CH" sz="1133" b="0" kern="600">
              <a:solidFill>
                <a:schemeClr val="bg1"/>
              </a:solidFill>
              <a:latin typeface="+mn-lt"/>
            </a:endParaRP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8 = Kleiner Text (Legenden)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90353422-C43D-45C6-9416-1431DEE1F232}"/>
              </a:ext>
            </a:extLst>
          </p:cNvPr>
          <p:cNvGrpSpPr/>
          <p:nvPr userDrawn="1"/>
        </p:nvGrpSpPr>
        <p:grpSpPr>
          <a:xfrm flipH="1">
            <a:off x="-3840000" y="313268"/>
            <a:ext cx="3360000" cy="3770250"/>
            <a:chOff x="-2880000" y="1428750"/>
            <a:chExt cx="2520000" cy="2827687"/>
          </a:xfrm>
        </p:grpSpPr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D5B29FCF-CE03-4B3A-818E-AADEFE4DFFF4}"/>
                </a:ext>
              </a:extLst>
            </p:cNvPr>
            <p:cNvSpPr txBox="1"/>
            <p:nvPr userDrawn="1"/>
          </p:nvSpPr>
          <p:spPr>
            <a:xfrm flipH="1">
              <a:off x="-2880000" y="1428750"/>
              <a:ext cx="2520000" cy="2827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108000" tIns="54000" rIns="108000" bIns="54000" rtlCol="0">
              <a:spAutoFit/>
            </a:bodyPr>
            <a:lstStyle/>
            <a:p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Bilder einfügen:</a:t>
              </a:r>
            </a:p>
            <a:p>
              <a:pPr marL="153592" indent="-153592">
                <a:buAutoNum type="arabicPeriod"/>
              </a:pPr>
              <a:r>
                <a:rPr lang="de-DE" sz="1133" b="0" kern="600" baseline="0">
                  <a:solidFill>
                    <a:schemeClr val="bg1"/>
                  </a:solidFill>
                </a:rPr>
                <a:t>Löschen Sie das ggf. bereits vorhandene Bild</a:t>
              </a:r>
            </a:p>
            <a:p>
              <a:pPr marL="153592" indent="-153592">
                <a:buAutoNum type="arabicPeriod"/>
              </a:pPr>
              <a:r>
                <a:rPr lang="de-DE" sz="1133" b="0" kern="600" baseline="0">
                  <a:solidFill>
                    <a:schemeClr val="bg1"/>
                  </a:solidFill>
                </a:rPr>
                <a:t>Klicken Sie auf das Bild-Symbol in der Mitte </a:t>
              </a:r>
              <a:br>
                <a:rPr lang="de-DE" sz="1133" b="0" kern="600" baseline="0">
                  <a:solidFill>
                    <a:schemeClr val="bg1"/>
                  </a:solidFill>
                </a:rPr>
              </a:br>
              <a:r>
                <a:rPr lang="de-DE" sz="1133" b="0" kern="600" baseline="0">
                  <a:solidFill>
                    <a:schemeClr val="bg1"/>
                  </a:solidFill>
                </a:rPr>
                <a:t>des Platzhalters</a:t>
              </a: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r>
                <a:rPr lang="de-DE" sz="1133" b="0" kern="600" baseline="0">
                  <a:solidFill>
                    <a:schemeClr val="bg1"/>
                  </a:solidFill>
                </a:rPr>
                <a:t>Nachdem Sie Ihr Bild platziert haben, können Sie es über »Bildtools -&gt; Zuschneiden« innerhalb der hier definierten »</a:t>
              </a:r>
              <a:r>
                <a:rPr lang="de-DE" sz="1133" b="0" kern="600" baseline="0" err="1">
                  <a:solidFill>
                    <a:schemeClr val="bg1"/>
                  </a:solidFill>
                </a:rPr>
                <a:t>Bildbox</a:t>
              </a:r>
              <a:r>
                <a:rPr lang="de-DE" sz="1133" b="0" kern="600" baseline="0">
                  <a:solidFill>
                    <a:schemeClr val="bg1"/>
                  </a:solidFill>
                </a:rPr>
                <a:t>« verschieben und/oder beschneiden. Die enthaltenen Hilfslinien helfen bei der richtigen Positionierung.</a:t>
              </a:r>
              <a:r>
                <a:rPr lang="de-CH" sz="1133" b="0" kern="600" baseline="0">
                  <a:solidFill>
                    <a:schemeClr val="bg1"/>
                  </a:solidFill>
                </a:rPr>
                <a:t> Durch Klicken auf »Einpassen« wird das Bild passend skaliert.</a:t>
              </a: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</p:txBody>
        </p:sp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AF6527C9-3662-4058-A994-1FF8CEA9A98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p:blipFill>
          <p:spPr>
            <a:xfrm flipH="1">
              <a:off x="-1589225" y="3001763"/>
              <a:ext cx="1088246" cy="114392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30470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50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diagrams and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>
            <a:extLst>
              <a:ext uri="{FF2B5EF4-FFF2-40B4-BE49-F238E27FC236}">
                <a16:creationId xmlns:a16="http://schemas.microsoft.com/office/drawing/2014/main" id="{43EC237B-E88E-4FE5-BD57-9961FCFFFBF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1F3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ACA4B8EC-461A-4C07-A51F-7E60E14F5EA0}"/>
              </a:ext>
            </a:extLst>
          </p:cNvPr>
          <p:cNvSpPr/>
          <p:nvPr userDrawn="1"/>
        </p:nvSpPr>
        <p:spPr>
          <a:xfrm>
            <a:off x="0" y="313268"/>
            <a:ext cx="12192000" cy="8974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E4332158-D822-4D14-BD2A-5F6CE8BB2412}"/>
              </a:ext>
            </a:extLst>
          </p:cNvPr>
          <p:cNvSpPr/>
          <p:nvPr userDrawn="1"/>
        </p:nvSpPr>
        <p:spPr>
          <a:xfrm>
            <a:off x="0" y="313268"/>
            <a:ext cx="124800" cy="8974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50B1973B-7250-4E54-8EB2-F94573222A74}"/>
              </a:ext>
            </a:extLst>
          </p:cNvPr>
          <p:cNvGrpSpPr/>
          <p:nvPr userDrawn="1"/>
        </p:nvGrpSpPr>
        <p:grpSpPr>
          <a:xfrm>
            <a:off x="10136049" y="559792"/>
            <a:ext cx="1440000" cy="404419"/>
            <a:chOff x="-5709525" y="-5645283"/>
            <a:chExt cx="19213689" cy="5396089"/>
          </a:xfrm>
        </p:grpSpPr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B1542C2E-7059-4E3F-9965-C105A4F349C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5709525" y="-5645283"/>
              <a:ext cx="19213689" cy="5396089"/>
            </a:xfrm>
            <a:prstGeom prst="rect">
              <a:avLst/>
            </a:prstGeom>
          </p:spPr>
        </p:pic>
        <p:sp>
          <p:nvSpPr>
            <p:cNvPr id="32" name="Freeform 26">
              <a:extLst>
                <a:ext uri="{FF2B5EF4-FFF2-40B4-BE49-F238E27FC236}">
                  <a16:creationId xmlns:a16="http://schemas.microsoft.com/office/drawing/2014/main" id="{A3711BF2-A19C-4508-A7B9-EB1A1A330D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709525" y="-5645283"/>
              <a:ext cx="1287463" cy="1493837"/>
            </a:xfrm>
            <a:custGeom>
              <a:avLst/>
              <a:gdLst>
                <a:gd name="T0" fmla="*/ 86 w 114"/>
                <a:gd name="T1" fmla="*/ 0 h 132"/>
                <a:gd name="T2" fmla="*/ 1 w 114"/>
                <a:gd name="T3" fmla="*/ 20 h 132"/>
                <a:gd name="T4" fmla="*/ 0 w 114"/>
                <a:gd name="T5" fmla="*/ 31 h 132"/>
                <a:gd name="T6" fmla="*/ 31 w 114"/>
                <a:gd name="T7" fmla="*/ 132 h 132"/>
                <a:gd name="T8" fmla="*/ 114 w 114"/>
                <a:gd name="T9" fmla="*/ 115 h 132"/>
                <a:gd name="T10" fmla="*/ 114 w 114"/>
                <a:gd name="T11" fmla="*/ 106 h 132"/>
                <a:gd name="T12" fmla="*/ 94 w 114"/>
                <a:gd name="T13" fmla="*/ 0 h 132"/>
                <a:gd name="T14" fmla="*/ 86 w 114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32">
                  <a:moveTo>
                    <a:pt x="86" y="0"/>
                  </a:moveTo>
                  <a:cubicBezTo>
                    <a:pt x="52" y="0"/>
                    <a:pt x="25" y="8"/>
                    <a:pt x="1" y="20"/>
                  </a:cubicBezTo>
                  <a:cubicBezTo>
                    <a:pt x="1" y="23"/>
                    <a:pt x="0" y="25"/>
                    <a:pt x="0" y="31"/>
                  </a:cubicBezTo>
                  <a:cubicBezTo>
                    <a:pt x="0" y="56"/>
                    <a:pt x="18" y="102"/>
                    <a:pt x="31" y="132"/>
                  </a:cubicBezTo>
                  <a:cubicBezTo>
                    <a:pt x="56" y="132"/>
                    <a:pt x="92" y="125"/>
                    <a:pt x="114" y="115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81"/>
                    <a:pt x="113" y="24"/>
                    <a:pt x="94" y="0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sz="240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eingeben</a:t>
            </a:r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8486A62-8E09-4568-936F-59199FC6D1B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613836" y="6417600"/>
            <a:ext cx="9523765" cy="240000"/>
          </a:xfrm>
        </p:spPr>
        <p:txBody>
          <a:bodyPr/>
          <a:lstStyle>
            <a:lvl1pPr algn="l">
              <a:defRPr/>
            </a:lvl1pPr>
          </a:lstStyle>
          <a:p>
            <a:pPr algn="l"/>
            <a:endParaRPr lang="de-CH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2404CB0-61AA-4EEA-80F8-CFF91A4646C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B84BE2A-AF72-474C-A580-796179F45542}" type="slidenum">
              <a:rPr lang="de-CH" smtClean="0"/>
              <a:pPr/>
              <a:t>‹Nr.›</a:t>
            </a:fld>
            <a:endParaRPr lang="de-CH" kern="60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CCD68D62-2F79-4667-9D7D-08EC58AC9EE0}"/>
              </a:ext>
            </a:extLst>
          </p:cNvPr>
          <p:cNvSpPr txBox="1"/>
          <p:nvPr userDrawn="1"/>
        </p:nvSpPr>
        <p:spPr>
          <a:xfrm>
            <a:off x="-3840000" y="1824563"/>
            <a:ext cx="3360000" cy="1714490"/>
          </a:xfrm>
          <a:prstGeom prst="rect">
            <a:avLst/>
          </a:prstGeom>
          <a:solidFill>
            <a:schemeClr val="accent2"/>
          </a:solidFill>
        </p:spPr>
        <p:txBody>
          <a:bodyPr wrap="square" lIns="144000" tIns="72000" rIns="144000" bIns="72000" rtlCol="0">
            <a:spAutoFit/>
          </a:bodyPr>
          <a:lstStyle/>
          <a:p>
            <a:r>
              <a:rPr lang="de-DE" sz="1133" b="0" kern="600">
                <a:solidFill>
                  <a:schemeClr val="bg1"/>
                </a:solidFill>
                <a:latin typeface="+mj-lt"/>
              </a:rPr>
              <a:t>Enthaltene Textebenen:</a:t>
            </a:r>
          </a:p>
          <a:p>
            <a:r>
              <a:rPr lang="de-DE" sz="1133" b="0" kern="600">
                <a:solidFill>
                  <a:schemeClr val="bg1"/>
                </a:solidFill>
                <a:latin typeface="+mn-lt"/>
              </a:rPr>
              <a:t>Ebene</a:t>
            </a: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 1 = Normaler Tex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2 = Auflist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3 = Auflist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4 = Nummerier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5 = Nummerier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6 = Untertitel mit Abstand</a:t>
            </a:r>
          </a:p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7 = Kleiner Text, fett (Legenden-Titel)</a:t>
            </a:r>
            <a:endParaRPr lang="de-CH" sz="1133" b="0" kern="600">
              <a:solidFill>
                <a:schemeClr val="bg1"/>
              </a:solidFill>
              <a:latin typeface="+mn-lt"/>
            </a:endParaRP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8 = Kleiner Text (Legenden)</a:t>
            </a:r>
          </a:p>
        </p:txBody>
      </p:sp>
      <p:sp>
        <p:nvSpPr>
          <p:cNvPr id="24" name="Textplatzhalter 10">
            <a:extLst>
              <a:ext uri="{FF2B5EF4-FFF2-40B4-BE49-F238E27FC236}">
                <a16:creationId xmlns:a16="http://schemas.microsoft.com/office/drawing/2014/main" id="{31324497-E7BC-4D2B-8081-EE46EACC4B6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13837" y="1824563"/>
            <a:ext cx="5327655" cy="4417488"/>
          </a:xfrm>
        </p:spPr>
        <p:txBody>
          <a:bodyPr/>
          <a:lstStyle>
            <a:lvl5pPr>
              <a:defRPr/>
            </a:lvl5pPr>
            <a:lvl8pPr>
              <a:defRPr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Diagrammplatzhalter 3">
            <a:extLst>
              <a:ext uri="{FF2B5EF4-FFF2-40B4-BE49-F238E27FC236}">
                <a16:creationId xmlns:a16="http://schemas.microsoft.com/office/drawing/2014/main" id="{BA736CF7-4F39-49A1-93A5-40BDEEDC563E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6246284" y="1824563"/>
            <a:ext cx="2590800" cy="4417488"/>
          </a:xfrm>
        </p:spPr>
        <p:txBody>
          <a:bodyPr anchor="ctr" anchorCtr="0"/>
          <a:lstStyle>
            <a:lvl1pPr algn="ctr">
              <a:lnSpc>
                <a:spcPts val="2067"/>
              </a:lnSpc>
              <a:defRPr sz="1533" baseline="0">
                <a:latin typeface="+mj-lt"/>
              </a:defRPr>
            </a:lvl1pPr>
          </a:lstStyle>
          <a:p>
            <a:r>
              <a:rPr lang="en-US"/>
              <a:t>Click icon to add chart</a:t>
            </a:r>
            <a:endParaRPr lang="de-CH"/>
          </a:p>
        </p:txBody>
      </p:sp>
      <p:sp>
        <p:nvSpPr>
          <p:cNvPr id="33" name="Diagrammplatzhalter 3">
            <a:extLst>
              <a:ext uri="{FF2B5EF4-FFF2-40B4-BE49-F238E27FC236}">
                <a16:creationId xmlns:a16="http://schemas.microsoft.com/office/drawing/2014/main" id="{C43BF030-AF9F-479D-9EE9-FB7E8C194358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8983135" y="1824567"/>
            <a:ext cx="2588631" cy="4417488"/>
          </a:xfrm>
        </p:spPr>
        <p:txBody>
          <a:bodyPr anchor="ctr" anchorCtr="0"/>
          <a:lstStyle>
            <a:lvl1pPr algn="ctr">
              <a:lnSpc>
                <a:spcPts val="2067"/>
              </a:lnSpc>
              <a:defRPr sz="1533" baseline="0">
                <a:latin typeface="+mj-lt"/>
              </a:defRPr>
            </a:lvl1pPr>
          </a:lstStyle>
          <a:p>
            <a:r>
              <a:rPr lang="en-US"/>
              <a:t>Click icon to add chart</a:t>
            </a:r>
            <a:endParaRPr lang="de-CH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3C8EA230-6068-4770-9AAF-F7A2D213496A}"/>
              </a:ext>
            </a:extLst>
          </p:cNvPr>
          <p:cNvSpPr txBox="1"/>
          <p:nvPr userDrawn="1"/>
        </p:nvSpPr>
        <p:spPr>
          <a:xfrm flipH="1">
            <a:off x="13152000" y="1824567"/>
            <a:ext cx="3360000" cy="4417484"/>
          </a:xfrm>
          <a:prstGeom prst="rect">
            <a:avLst/>
          </a:prstGeom>
          <a:solidFill>
            <a:schemeClr val="accent4"/>
          </a:solidFill>
        </p:spPr>
        <p:txBody>
          <a:bodyPr wrap="square" lIns="360000" tIns="72000" rIns="144000" bIns="72000" rtlCol="0" anchor="ctr" anchorCtr="0">
            <a:noAutofit/>
          </a:bodyPr>
          <a:lstStyle/>
          <a:p>
            <a:r>
              <a:rPr lang="de-DE" sz="1133" b="0" kern="600">
                <a:solidFill>
                  <a:schemeClr val="bg1"/>
                </a:solidFill>
                <a:latin typeface="+mj-lt"/>
              </a:rPr>
              <a:t>Dieses Diagramm-Design speichern:</a:t>
            </a:r>
          </a:p>
          <a:p>
            <a:pPr marL="153592" indent="-153592">
              <a:buFont typeface="+mj-lt"/>
              <a:buAutoNum type="arabicPeriod"/>
            </a:pPr>
            <a:r>
              <a:rPr lang="de-CH" sz="1133" kern="600">
                <a:solidFill>
                  <a:schemeClr val="bg1"/>
                </a:solidFill>
              </a:rPr>
              <a:t>Diagramm anklicken.</a:t>
            </a:r>
          </a:p>
          <a:p>
            <a:pPr marL="153592" indent="-153592">
              <a:buFont typeface="+mj-lt"/>
              <a:buAutoNum type="arabicPeriod"/>
            </a:pPr>
            <a:r>
              <a:rPr lang="de-CH" sz="1133" kern="600">
                <a:solidFill>
                  <a:schemeClr val="bg1"/>
                </a:solidFill>
              </a:rPr>
              <a:t>Rechtsklick auf die Diagrammfläche </a:t>
            </a:r>
            <a:br>
              <a:rPr lang="de-CH" sz="1133" kern="600">
                <a:solidFill>
                  <a:schemeClr val="bg1"/>
                </a:solidFill>
              </a:rPr>
            </a:br>
            <a:r>
              <a:rPr lang="de-CH" sz="1133" kern="600">
                <a:solidFill>
                  <a:schemeClr val="bg1"/>
                </a:solidFill>
              </a:rPr>
              <a:t>(kein Element anklicken, sondern irgendwo in </a:t>
            </a:r>
            <a:br>
              <a:rPr lang="de-CH" sz="1133" kern="600">
                <a:solidFill>
                  <a:schemeClr val="bg1"/>
                </a:solidFill>
              </a:rPr>
            </a:br>
            <a:r>
              <a:rPr lang="de-CH" sz="1133" kern="600">
                <a:solidFill>
                  <a:schemeClr val="bg1"/>
                </a:solidFill>
              </a:rPr>
              <a:t>den leeren Hintergrund klicken) und Eintrag </a:t>
            </a:r>
            <a:br>
              <a:rPr lang="de-CH" sz="1133" kern="600">
                <a:solidFill>
                  <a:schemeClr val="bg1"/>
                </a:solidFill>
              </a:rPr>
            </a:br>
            <a:r>
              <a:rPr lang="de-CH" sz="1133" kern="600">
                <a:solidFill>
                  <a:schemeClr val="bg1"/>
                </a:solidFill>
              </a:rPr>
              <a:t>»Als Vorlage speichern…« auswählen.</a:t>
            </a:r>
          </a:p>
          <a:p>
            <a:pPr marL="153592" indent="-153592">
              <a:buFont typeface="+mj-lt"/>
              <a:buAutoNum type="arabicPeriod"/>
            </a:pPr>
            <a:r>
              <a:rPr lang="de-CH" sz="1133" kern="600">
                <a:solidFill>
                  <a:schemeClr val="bg1"/>
                </a:solidFill>
              </a:rPr>
              <a:t>Sinnvollen Namen geben, zum Beispiel »</a:t>
            </a:r>
            <a:r>
              <a:rPr lang="de-CH" sz="1133" kern="600" err="1">
                <a:solidFill>
                  <a:schemeClr val="bg1"/>
                </a:solidFill>
              </a:rPr>
              <a:t>IDM_Powerpoint_Kuchendiagramm</a:t>
            </a:r>
            <a:r>
              <a:rPr lang="de-CH" sz="1133" kern="600">
                <a:solidFill>
                  <a:schemeClr val="bg1"/>
                </a:solidFill>
              </a:rPr>
              <a:t>_</a:t>
            </a:r>
            <a:br>
              <a:rPr lang="de-CH" sz="1133" kern="600">
                <a:solidFill>
                  <a:schemeClr val="bg1"/>
                </a:solidFill>
              </a:rPr>
            </a:br>
            <a:r>
              <a:rPr lang="de-CH" sz="1133" kern="600">
                <a:solidFill>
                  <a:schemeClr val="bg1"/>
                </a:solidFill>
              </a:rPr>
              <a:t>1-farbig_2021«</a:t>
            </a:r>
            <a:r>
              <a:rPr lang="de-DE" sz="1133" b="0" kern="600">
                <a:solidFill>
                  <a:schemeClr val="bg1"/>
                </a:solidFill>
                <a:latin typeface="+mn-lt"/>
              </a:rPr>
              <a:t>.</a:t>
            </a:r>
          </a:p>
          <a:p>
            <a:endParaRPr lang="de-DE" sz="1133" kern="600">
              <a:solidFill>
                <a:schemeClr val="bg1"/>
              </a:solidFill>
            </a:endParaRPr>
          </a:p>
          <a:p>
            <a:r>
              <a:rPr lang="de-DE" sz="1133" b="0" kern="600">
                <a:solidFill>
                  <a:schemeClr val="bg1"/>
                </a:solidFill>
                <a:latin typeface="+mj-lt"/>
              </a:rPr>
              <a:t>Diagramme visuell ansprechend skalieren </a:t>
            </a:r>
            <a:br>
              <a:rPr lang="de-DE" sz="1133" b="0" kern="600">
                <a:solidFill>
                  <a:schemeClr val="bg1"/>
                </a:solidFill>
                <a:latin typeface="+mj-lt"/>
              </a:rPr>
            </a:br>
            <a:r>
              <a:rPr lang="de-DE" sz="1133" b="0" kern="600">
                <a:solidFill>
                  <a:schemeClr val="bg1"/>
                </a:solidFill>
                <a:latin typeface="+mj-lt"/>
              </a:rPr>
              <a:t>(im Normalfall auf die ganze Boxbreite bzw. auf die Hilfslinien), aber immer vertikal eingemittet positionieren.</a:t>
            </a:r>
          </a:p>
          <a:p>
            <a:endParaRPr lang="de-DE" sz="1133" kern="600">
              <a:solidFill>
                <a:schemeClr val="bg1"/>
              </a:solidFill>
              <a:latin typeface="+mj-lt"/>
            </a:endParaRPr>
          </a:p>
          <a:p>
            <a:r>
              <a:rPr lang="de-DE" sz="1133" b="0" kern="600">
                <a:solidFill>
                  <a:schemeClr val="bg1"/>
                </a:solidFill>
                <a:latin typeface="+mj-lt"/>
              </a:rPr>
              <a:t>Diagramme auf »einfarbig« einstellen und Konturen immer weglassen (über Format &gt; Formkontur).</a:t>
            </a:r>
          </a:p>
          <a:p>
            <a:endParaRPr lang="de-DE" sz="1133" b="0" kern="600">
              <a:solidFill>
                <a:schemeClr val="bg1"/>
              </a:solidFill>
              <a:latin typeface="+mn-lt"/>
            </a:endParaRPr>
          </a:p>
          <a:p>
            <a:r>
              <a:rPr lang="de-DE" sz="1133" kern="600">
                <a:solidFill>
                  <a:schemeClr val="bg1"/>
                </a:solidFill>
                <a:latin typeface="+mj-lt"/>
              </a:rPr>
              <a:t>Richtige Schriftdefinitionen:</a:t>
            </a:r>
          </a:p>
          <a:p>
            <a:r>
              <a:rPr lang="de-DE" sz="1133" b="0" kern="600">
                <a:solidFill>
                  <a:schemeClr val="bg1"/>
                </a:solidFill>
                <a:latin typeface="+mn-lt"/>
              </a:rPr>
              <a:t>Diagrammtitel = 16</a:t>
            </a:r>
            <a:r>
              <a:rPr lang="de-DE" sz="1133" kern="600">
                <a:solidFill>
                  <a:schemeClr val="bg1"/>
                </a:solidFill>
              </a:rPr>
              <a:t>pt</a:t>
            </a:r>
          </a:p>
          <a:p>
            <a:r>
              <a:rPr lang="de-DE" sz="1133" b="0" kern="600">
                <a:solidFill>
                  <a:schemeClr val="bg1"/>
                </a:solidFill>
                <a:latin typeface="+mn-lt"/>
              </a:rPr>
              <a:t>Rest = 11.5pt</a:t>
            </a:r>
            <a:endParaRPr lang="de-CH" sz="1133" b="0" kern="60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916798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85">
          <p15:clr>
            <a:srgbClr val="FBAE40"/>
          </p15:clr>
        </p15:guide>
        <p15:guide id="2" orient="horz" pos="1829">
          <p15:clr>
            <a:srgbClr val="FBAE40"/>
          </p15:clr>
        </p15:guide>
        <p15:guide id="3" pos="2807">
          <p15:clr>
            <a:srgbClr val="FBAE40"/>
          </p15:clr>
        </p15:guide>
        <p15:guide id="4" pos="2951">
          <p15:clr>
            <a:srgbClr val="FBAE40"/>
          </p15:clr>
        </p15:guide>
        <p15:guide id="5" pos="4175">
          <p15:clr>
            <a:srgbClr val="FBAE40"/>
          </p15:clr>
        </p15:guide>
        <p15:guide id="6" pos="4244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hteck 25">
            <a:extLst>
              <a:ext uri="{FF2B5EF4-FFF2-40B4-BE49-F238E27FC236}">
                <a16:creationId xmlns:a16="http://schemas.microsoft.com/office/drawing/2014/main" id="{AD11B847-8844-4C12-8C92-2DA34B8DC8F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1F3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4BCFBD67-3D02-48A5-984D-6DB528074A32}"/>
              </a:ext>
            </a:extLst>
          </p:cNvPr>
          <p:cNvSpPr/>
          <p:nvPr userDrawn="1"/>
        </p:nvSpPr>
        <p:spPr>
          <a:xfrm>
            <a:off x="0" y="313268"/>
            <a:ext cx="12192000" cy="8974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F64FD658-D53C-4FD9-818B-E61E355097BA}"/>
              </a:ext>
            </a:extLst>
          </p:cNvPr>
          <p:cNvSpPr/>
          <p:nvPr userDrawn="1"/>
        </p:nvSpPr>
        <p:spPr>
          <a:xfrm>
            <a:off x="0" y="313268"/>
            <a:ext cx="124800" cy="8974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9747C7CC-B53B-4F90-9CFE-411FC28A31B7}"/>
              </a:ext>
            </a:extLst>
          </p:cNvPr>
          <p:cNvGrpSpPr/>
          <p:nvPr userDrawn="1"/>
        </p:nvGrpSpPr>
        <p:grpSpPr>
          <a:xfrm>
            <a:off x="10136049" y="559792"/>
            <a:ext cx="1440000" cy="404419"/>
            <a:chOff x="-5709525" y="-5645283"/>
            <a:chExt cx="19213689" cy="5396089"/>
          </a:xfrm>
        </p:grpSpPr>
        <p:pic>
          <p:nvPicPr>
            <p:cNvPr id="46" name="Grafik 45">
              <a:extLst>
                <a:ext uri="{FF2B5EF4-FFF2-40B4-BE49-F238E27FC236}">
                  <a16:creationId xmlns:a16="http://schemas.microsoft.com/office/drawing/2014/main" id="{22751ED6-7698-47E2-8C5C-6E0B7DC7305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5709525" y="-5645283"/>
              <a:ext cx="19213689" cy="5396089"/>
            </a:xfrm>
            <a:prstGeom prst="rect">
              <a:avLst/>
            </a:prstGeom>
          </p:spPr>
        </p:pic>
        <p:sp>
          <p:nvSpPr>
            <p:cNvPr id="47" name="Freeform 26">
              <a:extLst>
                <a:ext uri="{FF2B5EF4-FFF2-40B4-BE49-F238E27FC236}">
                  <a16:creationId xmlns:a16="http://schemas.microsoft.com/office/drawing/2014/main" id="{E1543908-5773-4844-8AC5-B0A248C2DF6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709525" y="-5645283"/>
              <a:ext cx="1287463" cy="1493837"/>
            </a:xfrm>
            <a:custGeom>
              <a:avLst/>
              <a:gdLst>
                <a:gd name="T0" fmla="*/ 86 w 114"/>
                <a:gd name="T1" fmla="*/ 0 h 132"/>
                <a:gd name="T2" fmla="*/ 1 w 114"/>
                <a:gd name="T3" fmla="*/ 20 h 132"/>
                <a:gd name="T4" fmla="*/ 0 w 114"/>
                <a:gd name="T5" fmla="*/ 31 h 132"/>
                <a:gd name="T6" fmla="*/ 31 w 114"/>
                <a:gd name="T7" fmla="*/ 132 h 132"/>
                <a:gd name="T8" fmla="*/ 114 w 114"/>
                <a:gd name="T9" fmla="*/ 115 h 132"/>
                <a:gd name="T10" fmla="*/ 114 w 114"/>
                <a:gd name="T11" fmla="*/ 106 h 132"/>
                <a:gd name="T12" fmla="*/ 94 w 114"/>
                <a:gd name="T13" fmla="*/ 0 h 132"/>
                <a:gd name="T14" fmla="*/ 86 w 114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32">
                  <a:moveTo>
                    <a:pt x="86" y="0"/>
                  </a:moveTo>
                  <a:cubicBezTo>
                    <a:pt x="52" y="0"/>
                    <a:pt x="25" y="8"/>
                    <a:pt x="1" y="20"/>
                  </a:cubicBezTo>
                  <a:cubicBezTo>
                    <a:pt x="1" y="23"/>
                    <a:pt x="0" y="25"/>
                    <a:pt x="0" y="31"/>
                  </a:cubicBezTo>
                  <a:cubicBezTo>
                    <a:pt x="0" y="56"/>
                    <a:pt x="18" y="102"/>
                    <a:pt x="31" y="132"/>
                  </a:cubicBezTo>
                  <a:cubicBezTo>
                    <a:pt x="56" y="132"/>
                    <a:pt x="92" y="125"/>
                    <a:pt x="114" y="115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81"/>
                    <a:pt x="113" y="24"/>
                    <a:pt x="94" y="0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sz="240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80CCCC74-FE85-4957-B2EF-526A07E873C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3833" y="1824000"/>
            <a:ext cx="4318000" cy="960000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txBody>
          <a:bodyPr lIns="7920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bg1"/>
                </a:solidFill>
                <a:latin typeface="+mj-lt"/>
              </a:defRPr>
            </a:lvl1pPr>
            <a:lvl2pPr marL="153592" indent="-153592">
              <a:lnSpc>
                <a:spcPct val="90000"/>
              </a:lnSpc>
              <a:defRPr sz="1533" cap="none" baseline="0">
                <a:solidFill>
                  <a:schemeClr val="bg1"/>
                </a:solidFill>
                <a:latin typeface="+mn-lt"/>
              </a:defRPr>
            </a:lvl2pPr>
            <a:lvl3pPr marL="307184" indent="-153592">
              <a:lnSpc>
                <a:spcPct val="90000"/>
              </a:lnSpc>
              <a:defRPr sz="1533" cap="none" baseline="0">
                <a:solidFill>
                  <a:schemeClr val="bg1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bg1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31" name="Bildplatzhalter 6">
            <a:extLst>
              <a:ext uri="{FF2B5EF4-FFF2-40B4-BE49-F238E27FC236}">
                <a16:creationId xmlns:a16="http://schemas.microsoft.com/office/drawing/2014/main" id="{6574870F-10DA-42F4-BB77-C5E93EE9482A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14400" y="1824000"/>
            <a:ext cx="960000" cy="960000"/>
          </a:xfrm>
          <a:prstGeom prst="rect">
            <a:avLst/>
          </a:prstGeom>
          <a:noFill/>
          <a:ln w="12700">
            <a:noFill/>
          </a:ln>
        </p:spPr>
        <p:txBody>
          <a:bodyPr anchor="ctr" anchorCtr="0"/>
          <a:lstStyle>
            <a:lvl1pPr algn="ctr">
              <a:lnSpc>
                <a:spcPts val="2067"/>
              </a:lnSpc>
              <a:defRPr sz="1533" baseline="0">
                <a:latin typeface="+mj-lt"/>
              </a:defRPr>
            </a:lvl1pPr>
          </a:lstStyle>
          <a:p>
            <a:r>
              <a:rPr lang="de-CH"/>
              <a:t>Portrait einfügen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94D676EA-710D-4543-ACFF-7D706C2A8D7C}"/>
              </a:ext>
            </a:extLst>
          </p:cNvPr>
          <p:cNvGrpSpPr/>
          <p:nvPr userDrawn="1"/>
        </p:nvGrpSpPr>
        <p:grpSpPr>
          <a:xfrm flipH="1">
            <a:off x="-3840000" y="1824567"/>
            <a:ext cx="3360000" cy="3247221"/>
            <a:chOff x="-2880000" y="1428750"/>
            <a:chExt cx="2520000" cy="2435416"/>
          </a:xfrm>
        </p:grpSpPr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C5DEF3B4-5092-4A72-964F-20FB37092A93}"/>
                </a:ext>
              </a:extLst>
            </p:cNvPr>
            <p:cNvSpPr txBox="1"/>
            <p:nvPr userDrawn="1"/>
          </p:nvSpPr>
          <p:spPr>
            <a:xfrm flipH="1">
              <a:off x="-2880000" y="1428750"/>
              <a:ext cx="2520000" cy="2435416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108000" tIns="54000" rIns="108000" bIns="54000" rtlCol="0">
              <a:spAutoFit/>
            </a:bodyPr>
            <a:lstStyle/>
            <a:p>
              <a:pPr marL="0" indent="0">
                <a:buFontTx/>
                <a:buNone/>
              </a:pPr>
              <a:r>
                <a:rPr lang="de-DE" sz="1133" b="0" kern="600" baseline="0">
                  <a:solidFill>
                    <a:schemeClr val="bg1"/>
                  </a:solidFill>
                </a:rPr>
                <a:t>Nachdem Sie Ihr Bild platziert haben, können </a:t>
              </a:r>
              <a:br>
                <a:rPr lang="de-DE" sz="1133" b="0" kern="600" baseline="0">
                  <a:solidFill>
                    <a:schemeClr val="bg1"/>
                  </a:solidFill>
                </a:rPr>
              </a:br>
              <a:r>
                <a:rPr lang="de-DE" sz="1133" b="0" kern="600" baseline="0">
                  <a:solidFill>
                    <a:schemeClr val="bg1"/>
                  </a:solidFill>
                </a:rPr>
                <a:t>Sie es über »Bildtools -&gt; Zuschneiden« innerhalb der hier definierten »</a:t>
              </a:r>
              <a:r>
                <a:rPr lang="de-DE" sz="1133" b="0" kern="600" baseline="0" err="1">
                  <a:solidFill>
                    <a:schemeClr val="bg1"/>
                  </a:solidFill>
                </a:rPr>
                <a:t>Bildbox</a:t>
              </a:r>
              <a:r>
                <a:rPr lang="de-DE" sz="1133" b="0" kern="600" baseline="0">
                  <a:solidFill>
                    <a:schemeClr val="bg1"/>
                  </a:solidFill>
                </a:rPr>
                <a:t>« verschieben und/</a:t>
              </a:r>
              <a:br>
                <a:rPr lang="de-DE" sz="1133" b="0" kern="600" baseline="0">
                  <a:solidFill>
                    <a:schemeClr val="bg1"/>
                  </a:solidFill>
                </a:rPr>
              </a:br>
              <a:r>
                <a:rPr lang="de-DE" sz="1133" b="0" kern="600" baseline="0">
                  <a:solidFill>
                    <a:schemeClr val="bg1"/>
                  </a:solidFill>
                </a:rPr>
                <a:t>oder beschneiden.</a:t>
              </a:r>
              <a:r>
                <a:rPr lang="de-CH" sz="1133" b="0" kern="600" baseline="0">
                  <a:solidFill>
                    <a:schemeClr val="bg1"/>
                  </a:solidFill>
                </a:rPr>
                <a:t> Durch Klicken auf »Einpassen« wird das Bild passend skaliert.</a:t>
              </a:r>
            </a:p>
            <a:p>
              <a:pPr marL="0" indent="0">
                <a:buFontTx/>
                <a:buNone/>
              </a:pPr>
              <a:endParaRPr lang="de-CH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CH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Enthaltene Textebenen:</a:t>
              </a:r>
            </a:p>
            <a:p>
              <a:r>
                <a:rPr lang="de-DE" sz="1133" b="0" kern="600">
                  <a:solidFill>
                    <a:schemeClr val="bg1"/>
                  </a:solidFill>
                  <a:latin typeface="+mn-lt"/>
                </a:rPr>
                <a:t>Ebene</a:t>
              </a:r>
              <a:r>
                <a:rPr lang="de-DE" sz="1133" b="0" kern="600" baseline="0">
                  <a:solidFill>
                    <a:schemeClr val="bg1"/>
                  </a:solidFill>
                  <a:latin typeface="+mn-lt"/>
                </a:rPr>
                <a:t> 1 = Vorname Name</a:t>
              </a:r>
            </a:p>
            <a:p>
              <a:r>
                <a:rPr lang="de-DE" sz="1133" b="0" kern="600" baseline="0">
                  <a:solidFill>
                    <a:schemeClr val="bg1"/>
                  </a:solidFill>
                  <a:latin typeface="+mn-lt"/>
                </a:rPr>
                <a:t>Ebene 2 = Funktion</a:t>
              </a:r>
              <a:endParaRPr lang="de-DE" sz="1133" b="0" kern="600" baseline="0">
                <a:solidFill>
                  <a:schemeClr val="bg1"/>
                </a:solidFill>
              </a:endParaRPr>
            </a:p>
          </p:txBody>
        </p:sp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3AD28544-B5B4-4719-B902-788CB165720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-1666412" y="2172471"/>
              <a:ext cx="1199925" cy="1164018"/>
            </a:xfrm>
            <a:prstGeom prst="rect">
              <a:avLst/>
            </a:prstGeom>
          </p:spPr>
        </p:pic>
      </p:grp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89D44E5-7746-44E2-98AB-1ACF191DA1AC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endParaRPr lang="de-CH" kern="60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91E25F4-1829-4FED-9ED5-1D42204799FA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5B84BE2A-AF72-474C-A580-796179F45542}" type="slidenum">
              <a:rPr lang="de-CH" smtClean="0"/>
              <a:pPr/>
              <a:t>‹Nr.›</a:t>
            </a:fld>
            <a:endParaRPr lang="de-CH" kern="600"/>
          </a:p>
        </p:txBody>
      </p:sp>
      <p:sp>
        <p:nvSpPr>
          <p:cNvPr id="48" name="Textplatzhalter 5">
            <a:extLst>
              <a:ext uri="{FF2B5EF4-FFF2-40B4-BE49-F238E27FC236}">
                <a16:creationId xmlns:a16="http://schemas.microsoft.com/office/drawing/2014/main" id="{30328B5B-E595-4CAD-96DF-5F2FC138B53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13833" y="2976684"/>
            <a:ext cx="4318000" cy="960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7920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accent2"/>
                </a:solidFill>
                <a:latin typeface="+mj-lt"/>
              </a:defRPr>
            </a:lvl1pPr>
            <a:lvl2pPr marL="153592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2pPr>
            <a:lvl3pPr marL="307184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accent2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49" name="Bildplatzhalter 6">
            <a:extLst>
              <a:ext uri="{FF2B5EF4-FFF2-40B4-BE49-F238E27FC236}">
                <a16:creationId xmlns:a16="http://schemas.microsoft.com/office/drawing/2014/main" id="{18DB94BD-96A7-4ABC-84E0-2BA73780863E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614400" y="2976684"/>
            <a:ext cx="960000" cy="960000"/>
          </a:xfrm>
          <a:prstGeom prst="rect">
            <a:avLst/>
          </a:prstGeom>
          <a:noFill/>
          <a:ln w="12700">
            <a:noFill/>
          </a:ln>
        </p:spPr>
        <p:txBody>
          <a:bodyPr anchor="ctr" anchorCtr="0"/>
          <a:lstStyle>
            <a:lvl1pPr algn="ctr">
              <a:lnSpc>
                <a:spcPts val="2067"/>
              </a:lnSpc>
              <a:defRPr sz="1533" baseline="0">
                <a:latin typeface="+mj-lt"/>
              </a:defRPr>
            </a:lvl1pPr>
          </a:lstStyle>
          <a:p>
            <a:r>
              <a:rPr lang="de-CH"/>
              <a:t>Portrait einfügen</a:t>
            </a:r>
          </a:p>
        </p:txBody>
      </p:sp>
      <p:sp>
        <p:nvSpPr>
          <p:cNvPr id="50" name="Textplatzhalter 5">
            <a:extLst>
              <a:ext uri="{FF2B5EF4-FFF2-40B4-BE49-F238E27FC236}">
                <a16:creationId xmlns:a16="http://schemas.microsoft.com/office/drawing/2014/main" id="{C25E0A5C-6EB3-442B-A2E0-BF4839264BBB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13833" y="4129368"/>
            <a:ext cx="4318000" cy="960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7920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accent2"/>
                </a:solidFill>
                <a:latin typeface="+mj-lt"/>
              </a:defRPr>
            </a:lvl1pPr>
            <a:lvl2pPr marL="153592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2pPr>
            <a:lvl3pPr marL="307184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accent2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51" name="Bildplatzhalter 6">
            <a:extLst>
              <a:ext uri="{FF2B5EF4-FFF2-40B4-BE49-F238E27FC236}">
                <a16:creationId xmlns:a16="http://schemas.microsoft.com/office/drawing/2014/main" id="{7A1BD900-14CE-40B5-B3C4-D4293DFFBD5B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614400" y="4129368"/>
            <a:ext cx="960000" cy="960000"/>
          </a:xfrm>
          <a:prstGeom prst="rect">
            <a:avLst/>
          </a:prstGeom>
          <a:noFill/>
          <a:ln w="12700">
            <a:noFill/>
          </a:ln>
        </p:spPr>
        <p:txBody>
          <a:bodyPr anchor="ctr" anchorCtr="0"/>
          <a:lstStyle>
            <a:lvl1pPr algn="ctr">
              <a:lnSpc>
                <a:spcPts val="2067"/>
              </a:lnSpc>
              <a:defRPr sz="1533" baseline="0">
                <a:latin typeface="+mj-lt"/>
              </a:defRPr>
            </a:lvl1pPr>
          </a:lstStyle>
          <a:p>
            <a:r>
              <a:rPr lang="de-CH"/>
              <a:t>Portrait einfügen</a:t>
            </a:r>
          </a:p>
        </p:txBody>
      </p:sp>
      <p:sp>
        <p:nvSpPr>
          <p:cNvPr id="52" name="Textplatzhalter 5">
            <a:extLst>
              <a:ext uri="{FF2B5EF4-FFF2-40B4-BE49-F238E27FC236}">
                <a16:creationId xmlns:a16="http://schemas.microsoft.com/office/drawing/2014/main" id="{0634A702-9D0D-4D93-B5BB-D27A42538F9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13833" y="5282051"/>
            <a:ext cx="4318000" cy="960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7920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accent2"/>
                </a:solidFill>
                <a:latin typeface="+mj-lt"/>
              </a:defRPr>
            </a:lvl1pPr>
            <a:lvl2pPr marL="153592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2pPr>
            <a:lvl3pPr marL="307184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accent2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53" name="Bildplatzhalter 6">
            <a:extLst>
              <a:ext uri="{FF2B5EF4-FFF2-40B4-BE49-F238E27FC236}">
                <a16:creationId xmlns:a16="http://schemas.microsoft.com/office/drawing/2014/main" id="{7AF2EE4B-0204-4BA5-8899-2EE484407A17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614400" y="5282051"/>
            <a:ext cx="960000" cy="960000"/>
          </a:xfrm>
          <a:prstGeom prst="rect">
            <a:avLst/>
          </a:prstGeom>
          <a:noFill/>
          <a:ln w="12700">
            <a:noFill/>
          </a:ln>
        </p:spPr>
        <p:txBody>
          <a:bodyPr anchor="ctr" anchorCtr="0"/>
          <a:lstStyle>
            <a:lvl1pPr algn="ctr">
              <a:lnSpc>
                <a:spcPts val="2067"/>
              </a:lnSpc>
              <a:defRPr sz="1533" baseline="0">
                <a:latin typeface="+mj-lt"/>
              </a:defRPr>
            </a:lvl1pPr>
          </a:lstStyle>
          <a:p>
            <a:r>
              <a:rPr lang="de-CH"/>
              <a:t>Portrait einfügen</a:t>
            </a:r>
          </a:p>
        </p:txBody>
      </p:sp>
      <p:sp>
        <p:nvSpPr>
          <p:cNvPr id="54" name="Textplatzhalter 5">
            <a:extLst>
              <a:ext uri="{FF2B5EF4-FFF2-40B4-BE49-F238E27FC236}">
                <a16:creationId xmlns:a16="http://schemas.microsoft.com/office/drawing/2014/main" id="{B2906D4C-FC61-4B68-A35B-686FD270002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894917" y="2976684"/>
            <a:ext cx="4318000" cy="960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7920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accent2"/>
                </a:solidFill>
                <a:latin typeface="+mj-lt"/>
              </a:defRPr>
            </a:lvl1pPr>
            <a:lvl2pPr marL="153592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2pPr>
            <a:lvl3pPr marL="307184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accent2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55" name="Bildplatzhalter 6">
            <a:extLst>
              <a:ext uri="{FF2B5EF4-FFF2-40B4-BE49-F238E27FC236}">
                <a16:creationId xmlns:a16="http://schemas.microsoft.com/office/drawing/2014/main" id="{504C4752-5200-4CAD-B0D8-D4833920761A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5895484" y="2976684"/>
            <a:ext cx="960000" cy="960000"/>
          </a:xfrm>
          <a:prstGeom prst="rect">
            <a:avLst/>
          </a:prstGeom>
          <a:noFill/>
          <a:ln w="12700">
            <a:noFill/>
          </a:ln>
        </p:spPr>
        <p:txBody>
          <a:bodyPr anchor="ctr" anchorCtr="0"/>
          <a:lstStyle>
            <a:lvl1pPr algn="ctr">
              <a:lnSpc>
                <a:spcPts val="2067"/>
              </a:lnSpc>
              <a:defRPr sz="1533" baseline="0">
                <a:latin typeface="+mj-lt"/>
              </a:defRPr>
            </a:lvl1pPr>
          </a:lstStyle>
          <a:p>
            <a:r>
              <a:rPr lang="de-CH"/>
              <a:t>Portrait einfügen</a:t>
            </a:r>
          </a:p>
        </p:txBody>
      </p:sp>
      <p:sp>
        <p:nvSpPr>
          <p:cNvPr id="56" name="Textplatzhalter 5">
            <a:extLst>
              <a:ext uri="{FF2B5EF4-FFF2-40B4-BE49-F238E27FC236}">
                <a16:creationId xmlns:a16="http://schemas.microsoft.com/office/drawing/2014/main" id="{8BBC604C-E562-4E97-AF41-EFCAA8152FD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894917" y="4129368"/>
            <a:ext cx="4318000" cy="960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7920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accent2"/>
                </a:solidFill>
                <a:latin typeface="+mj-lt"/>
              </a:defRPr>
            </a:lvl1pPr>
            <a:lvl2pPr marL="153592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2pPr>
            <a:lvl3pPr marL="307184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accent2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57" name="Bildplatzhalter 6">
            <a:extLst>
              <a:ext uri="{FF2B5EF4-FFF2-40B4-BE49-F238E27FC236}">
                <a16:creationId xmlns:a16="http://schemas.microsoft.com/office/drawing/2014/main" id="{133EF6CA-CAD0-48F0-BFB5-7F1DC9E343B3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5895484" y="4129368"/>
            <a:ext cx="960000" cy="960000"/>
          </a:xfrm>
          <a:prstGeom prst="rect">
            <a:avLst/>
          </a:prstGeom>
          <a:noFill/>
          <a:ln w="12700">
            <a:noFill/>
          </a:ln>
        </p:spPr>
        <p:txBody>
          <a:bodyPr anchor="ctr" anchorCtr="0"/>
          <a:lstStyle>
            <a:lvl1pPr algn="ctr">
              <a:lnSpc>
                <a:spcPts val="2067"/>
              </a:lnSpc>
              <a:defRPr sz="1533" baseline="0">
                <a:latin typeface="+mj-lt"/>
              </a:defRPr>
            </a:lvl1pPr>
          </a:lstStyle>
          <a:p>
            <a:r>
              <a:rPr lang="de-CH"/>
              <a:t>Portrait einfügen</a:t>
            </a:r>
          </a:p>
        </p:txBody>
      </p:sp>
      <p:sp>
        <p:nvSpPr>
          <p:cNvPr id="58" name="Textplatzhalter 5">
            <a:extLst>
              <a:ext uri="{FF2B5EF4-FFF2-40B4-BE49-F238E27FC236}">
                <a16:creationId xmlns:a16="http://schemas.microsoft.com/office/drawing/2014/main" id="{C7AFFCF3-31D5-47C2-8DCD-DE6AD9D13FC7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894917" y="5282051"/>
            <a:ext cx="4318000" cy="960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7920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accent2"/>
                </a:solidFill>
                <a:latin typeface="+mj-lt"/>
              </a:defRPr>
            </a:lvl1pPr>
            <a:lvl2pPr marL="153592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2pPr>
            <a:lvl3pPr marL="307184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accent2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59" name="Bildplatzhalter 6">
            <a:extLst>
              <a:ext uri="{FF2B5EF4-FFF2-40B4-BE49-F238E27FC236}">
                <a16:creationId xmlns:a16="http://schemas.microsoft.com/office/drawing/2014/main" id="{E0CB8A90-B75A-4C18-B72A-4B326575C508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5895484" y="5282051"/>
            <a:ext cx="960000" cy="960000"/>
          </a:xfrm>
          <a:prstGeom prst="rect">
            <a:avLst/>
          </a:prstGeom>
          <a:noFill/>
          <a:ln w="12700">
            <a:noFill/>
          </a:ln>
        </p:spPr>
        <p:txBody>
          <a:bodyPr anchor="ctr" anchorCtr="0"/>
          <a:lstStyle>
            <a:lvl1pPr algn="ctr">
              <a:lnSpc>
                <a:spcPts val="2067"/>
              </a:lnSpc>
              <a:defRPr sz="1533" baseline="0">
                <a:latin typeface="+mj-lt"/>
              </a:defRPr>
            </a:lvl1pPr>
          </a:lstStyle>
          <a:p>
            <a:r>
              <a:rPr lang="de-CH"/>
              <a:t>Portrait einfügen</a:t>
            </a:r>
          </a:p>
        </p:txBody>
      </p:sp>
      <p:sp>
        <p:nvSpPr>
          <p:cNvPr id="60" name="Textplatzhalter 5">
            <a:extLst>
              <a:ext uri="{FF2B5EF4-FFF2-40B4-BE49-F238E27FC236}">
                <a16:creationId xmlns:a16="http://schemas.microsoft.com/office/drawing/2014/main" id="{4E08E9AC-35ED-453A-9217-F6FC978AE9F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5894159" y="1824000"/>
            <a:ext cx="4318000" cy="960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7920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accent2"/>
                </a:solidFill>
                <a:latin typeface="+mj-lt"/>
              </a:defRPr>
            </a:lvl1pPr>
            <a:lvl2pPr marL="153592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2pPr>
            <a:lvl3pPr marL="307184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accent2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61" name="Bildplatzhalter 6">
            <a:extLst>
              <a:ext uri="{FF2B5EF4-FFF2-40B4-BE49-F238E27FC236}">
                <a16:creationId xmlns:a16="http://schemas.microsoft.com/office/drawing/2014/main" id="{080AC4A8-C651-49AE-A346-E3DE1B913F04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5894725" y="1824000"/>
            <a:ext cx="960000" cy="960000"/>
          </a:xfrm>
          <a:prstGeom prst="rect">
            <a:avLst/>
          </a:prstGeom>
          <a:noFill/>
          <a:ln w="12700">
            <a:noFill/>
          </a:ln>
        </p:spPr>
        <p:txBody>
          <a:bodyPr anchor="ctr" anchorCtr="0"/>
          <a:lstStyle>
            <a:lvl1pPr algn="ctr">
              <a:lnSpc>
                <a:spcPts val="2067"/>
              </a:lnSpc>
              <a:defRPr sz="1533" baseline="0">
                <a:latin typeface="+mj-lt"/>
              </a:defRPr>
            </a:lvl1pPr>
          </a:lstStyle>
          <a:p>
            <a:r>
              <a:rPr lang="de-CH"/>
              <a:t>Portrait einfüg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5E90315-7DFA-4CC0-894E-7B34320248A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894918" y="1210733"/>
            <a:ext cx="5681132" cy="613267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1533" baseline="0">
                <a:solidFill>
                  <a:schemeClr val="accent2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buNone/>
              <a:defRPr baseline="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90000"/>
              </a:lnSpc>
              <a:buNone/>
              <a:defRPr baseline="0">
                <a:solidFill>
                  <a:schemeClr val="accent2"/>
                </a:solidFill>
                <a:latin typeface="+mj-lt"/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baseline="0">
                <a:solidFill>
                  <a:schemeClr val="accent2"/>
                </a:solidFill>
                <a:latin typeface="+mj-lt"/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baseline="0">
                <a:solidFill>
                  <a:schemeClr val="accent2"/>
                </a:solidFill>
                <a:latin typeface="+mj-lt"/>
              </a:defRPr>
            </a:lvl5pPr>
          </a:lstStyle>
          <a:p>
            <a:pPr lvl="0"/>
            <a:r>
              <a:rPr lang="de-DE"/>
              <a:t>Optionaler Untertitel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476309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330">
          <p15:clr>
            <a:srgbClr val="A4A3A4"/>
          </p15:clr>
        </p15:guide>
        <p15:guide id="2" pos="2785">
          <p15:clr>
            <a:srgbClr val="A4A3A4"/>
          </p15:clr>
        </p15:guide>
        <p15:guide id="3" pos="4826">
          <p15:clr>
            <a:srgbClr val="A4A3A4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s,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hteck 25">
            <a:extLst>
              <a:ext uri="{FF2B5EF4-FFF2-40B4-BE49-F238E27FC236}">
                <a16:creationId xmlns:a16="http://schemas.microsoft.com/office/drawing/2014/main" id="{AD11B847-8844-4C12-8C92-2DA34B8DC8F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1F3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4BCFBD67-3D02-48A5-984D-6DB528074A32}"/>
              </a:ext>
            </a:extLst>
          </p:cNvPr>
          <p:cNvSpPr/>
          <p:nvPr userDrawn="1"/>
        </p:nvSpPr>
        <p:spPr>
          <a:xfrm>
            <a:off x="0" y="313268"/>
            <a:ext cx="12192000" cy="8974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F64FD658-D53C-4FD9-818B-E61E355097BA}"/>
              </a:ext>
            </a:extLst>
          </p:cNvPr>
          <p:cNvSpPr/>
          <p:nvPr userDrawn="1"/>
        </p:nvSpPr>
        <p:spPr>
          <a:xfrm>
            <a:off x="0" y="313268"/>
            <a:ext cx="124800" cy="8974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9747C7CC-B53B-4F90-9CFE-411FC28A31B7}"/>
              </a:ext>
            </a:extLst>
          </p:cNvPr>
          <p:cNvGrpSpPr/>
          <p:nvPr userDrawn="1"/>
        </p:nvGrpSpPr>
        <p:grpSpPr>
          <a:xfrm>
            <a:off x="10136049" y="559792"/>
            <a:ext cx="1440000" cy="404419"/>
            <a:chOff x="-5709525" y="-5645283"/>
            <a:chExt cx="19213689" cy="5396089"/>
          </a:xfrm>
        </p:grpSpPr>
        <p:pic>
          <p:nvPicPr>
            <p:cNvPr id="46" name="Grafik 45">
              <a:extLst>
                <a:ext uri="{FF2B5EF4-FFF2-40B4-BE49-F238E27FC236}">
                  <a16:creationId xmlns:a16="http://schemas.microsoft.com/office/drawing/2014/main" id="{22751ED6-7698-47E2-8C5C-6E0B7DC7305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5709525" y="-5645283"/>
              <a:ext cx="19213689" cy="5396089"/>
            </a:xfrm>
            <a:prstGeom prst="rect">
              <a:avLst/>
            </a:prstGeom>
          </p:spPr>
        </p:pic>
        <p:sp>
          <p:nvSpPr>
            <p:cNvPr id="47" name="Freeform 26">
              <a:extLst>
                <a:ext uri="{FF2B5EF4-FFF2-40B4-BE49-F238E27FC236}">
                  <a16:creationId xmlns:a16="http://schemas.microsoft.com/office/drawing/2014/main" id="{E1543908-5773-4844-8AC5-B0A248C2DF6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709525" y="-5645283"/>
              <a:ext cx="1287463" cy="1493837"/>
            </a:xfrm>
            <a:custGeom>
              <a:avLst/>
              <a:gdLst>
                <a:gd name="T0" fmla="*/ 86 w 114"/>
                <a:gd name="T1" fmla="*/ 0 h 132"/>
                <a:gd name="T2" fmla="*/ 1 w 114"/>
                <a:gd name="T3" fmla="*/ 20 h 132"/>
                <a:gd name="T4" fmla="*/ 0 w 114"/>
                <a:gd name="T5" fmla="*/ 31 h 132"/>
                <a:gd name="T6" fmla="*/ 31 w 114"/>
                <a:gd name="T7" fmla="*/ 132 h 132"/>
                <a:gd name="T8" fmla="*/ 114 w 114"/>
                <a:gd name="T9" fmla="*/ 115 h 132"/>
                <a:gd name="T10" fmla="*/ 114 w 114"/>
                <a:gd name="T11" fmla="*/ 106 h 132"/>
                <a:gd name="T12" fmla="*/ 94 w 114"/>
                <a:gd name="T13" fmla="*/ 0 h 132"/>
                <a:gd name="T14" fmla="*/ 86 w 114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32">
                  <a:moveTo>
                    <a:pt x="86" y="0"/>
                  </a:moveTo>
                  <a:cubicBezTo>
                    <a:pt x="52" y="0"/>
                    <a:pt x="25" y="8"/>
                    <a:pt x="1" y="20"/>
                  </a:cubicBezTo>
                  <a:cubicBezTo>
                    <a:pt x="1" y="23"/>
                    <a:pt x="0" y="25"/>
                    <a:pt x="0" y="31"/>
                  </a:cubicBezTo>
                  <a:cubicBezTo>
                    <a:pt x="0" y="56"/>
                    <a:pt x="18" y="102"/>
                    <a:pt x="31" y="132"/>
                  </a:cubicBezTo>
                  <a:cubicBezTo>
                    <a:pt x="56" y="132"/>
                    <a:pt x="92" y="125"/>
                    <a:pt x="114" y="115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81"/>
                    <a:pt x="113" y="24"/>
                    <a:pt x="94" y="0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sz="240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80CCCC74-FE85-4957-B2EF-526A07E873C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3833" y="1824000"/>
            <a:ext cx="4318000" cy="960000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txBody>
          <a:bodyPr lIns="2304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bg1"/>
                </a:solidFill>
                <a:latin typeface="+mj-lt"/>
              </a:defRPr>
            </a:lvl1pPr>
            <a:lvl2pPr marL="153592" indent="-153592">
              <a:lnSpc>
                <a:spcPct val="90000"/>
              </a:lnSpc>
              <a:defRPr sz="1533" cap="none" baseline="0">
                <a:solidFill>
                  <a:schemeClr val="bg1"/>
                </a:solidFill>
                <a:latin typeface="+mn-lt"/>
              </a:defRPr>
            </a:lvl2pPr>
            <a:lvl3pPr marL="307184" indent="-153592">
              <a:lnSpc>
                <a:spcPct val="90000"/>
              </a:lnSpc>
              <a:defRPr sz="1533" cap="none" baseline="0">
                <a:solidFill>
                  <a:schemeClr val="bg1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bg1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C5DEF3B4-5092-4A72-964F-20FB37092A93}"/>
              </a:ext>
            </a:extLst>
          </p:cNvPr>
          <p:cNvSpPr txBox="1"/>
          <p:nvPr userDrawn="1"/>
        </p:nvSpPr>
        <p:spPr>
          <a:xfrm>
            <a:off x="-3840000" y="1824569"/>
            <a:ext cx="3360000" cy="668435"/>
          </a:xfrm>
          <a:prstGeom prst="rect">
            <a:avLst/>
          </a:prstGeom>
          <a:solidFill>
            <a:schemeClr val="accent2"/>
          </a:solidFill>
        </p:spPr>
        <p:txBody>
          <a:bodyPr wrap="square" lIns="144000" tIns="72000" rIns="144000" bIns="72000" rtlCol="0">
            <a:spAutoFit/>
          </a:bodyPr>
          <a:lstStyle/>
          <a:p>
            <a:r>
              <a:rPr lang="de-DE" sz="1133" b="0" kern="600">
                <a:solidFill>
                  <a:schemeClr val="bg1"/>
                </a:solidFill>
                <a:latin typeface="+mj-lt"/>
              </a:rPr>
              <a:t>Enthaltene Textebenen:</a:t>
            </a:r>
          </a:p>
          <a:p>
            <a:r>
              <a:rPr lang="de-DE" sz="1133" b="0" kern="600">
                <a:solidFill>
                  <a:schemeClr val="bg1"/>
                </a:solidFill>
                <a:latin typeface="+mn-lt"/>
              </a:rPr>
              <a:t>Ebene</a:t>
            </a: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 1 = Vorname Name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2 = Funktion</a:t>
            </a:r>
            <a:endParaRPr lang="de-DE" sz="1133" b="0" kern="600" baseline="0">
              <a:solidFill>
                <a:schemeClr val="bg1"/>
              </a:solidFill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89D44E5-7746-44E2-98AB-1ACF191DA1AC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endParaRPr lang="de-CH" kern="60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91E25F4-1829-4FED-9ED5-1D42204799FA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5B84BE2A-AF72-474C-A580-796179F45542}" type="slidenum">
              <a:rPr lang="de-CH" smtClean="0"/>
              <a:pPr/>
              <a:t>‹Nr.›</a:t>
            </a:fld>
            <a:endParaRPr lang="de-CH" kern="600"/>
          </a:p>
        </p:txBody>
      </p:sp>
      <p:sp>
        <p:nvSpPr>
          <p:cNvPr id="48" name="Textplatzhalter 5">
            <a:extLst>
              <a:ext uri="{FF2B5EF4-FFF2-40B4-BE49-F238E27FC236}">
                <a16:creationId xmlns:a16="http://schemas.microsoft.com/office/drawing/2014/main" id="{30328B5B-E595-4CAD-96DF-5F2FC138B53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13833" y="2976684"/>
            <a:ext cx="4318000" cy="960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2304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accent2"/>
                </a:solidFill>
                <a:latin typeface="+mj-lt"/>
              </a:defRPr>
            </a:lvl1pPr>
            <a:lvl2pPr marL="153592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2pPr>
            <a:lvl3pPr marL="307184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accent2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50" name="Textplatzhalter 5">
            <a:extLst>
              <a:ext uri="{FF2B5EF4-FFF2-40B4-BE49-F238E27FC236}">
                <a16:creationId xmlns:a16="http://schemas.microsoft.com/office/drawing/2014/main" id="{C25E0A5C-6EB3-442B-A2E0-BF4839264BBB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13833" y="4129368"/>
            <a:ext cx="4318000" cy="960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2304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accent2"/>
                </a:solidFill>
                <a:latin typeface="+mj-lt"/>
              </a:defRPr>
            </a:lvl1pPr>
            <a:lvl2pPr marL="153592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2pPr>
            <a:lvl3pPr marL="307184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accent2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52" name="Textplatzhalter 5">
            <a:extLst>
              <a:ext uri="{FF2B5EF4-FFF2-40B4-BE49-F238E27FC236}">
                <a16:creationId xmlns:a16="http://schemas.microsoft.com/office/drawing/2014/main" id="{0634A702-9D0D-4D93-B5BB-D27A42538F9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13833" y="5282051"/>
            <a:ext cx="4318000" cy="960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2304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accent2"/>
                </a:solidFill>
                <a:latin typeface="+mj-lt"/>
              </a:defRPr>
            </a:lvl1pPr>
            <a:lvl2pPr marL="153592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2pPr>
            <a:lvl3pPr marL="307184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accent2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54" name="Textplatzhalter 5">
            <a:extLst>
              <a:ext uri="{FF2B5EF4-FFF2-40B4-BE49-F238E27FC236}">
                <a16:creationId xmlns:a16="http://schemas.microsoft.com/office/drawing/2014/main" id="{B2906D4C-FC61-4B68-A35B-686FD270002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894917" y="2976684"/>
            <a:ext cx="4318000" cy="960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2304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accent2"/>
                </a:solidFill>
                <a:latin typeface="+mj-lt"/>
              </a:defRPr>
            </a:lvl1pPr>
            <a:lvl2pPr marL="153592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2pPr>
            <a:lvl3pPr marL="307184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accent2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56" name="Textplatzhalter 5">
            <a:extLst>
              <a:ext uri="{FF2B5EF4-FFF2-40B4-BE49-F238E27FC236}">
                <a16:creationId xmlns:a16="http://schemas.microsoft.com/office/drawing/2014/main" id="{8BBC604C-E562-4E97-AF41-EFCAA8152FD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894917" y="4129368"/>
            <a:ext cx="4318000" cy="960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2304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accent2"/>
                </a:solidFill>
                <a:latin typeface="+mj-lt"/>
              </a:defRPr>
            </a:lvl1pPr>
            <a:lvl2pPr marL="153592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2pPr>
            <a:lvl3pPr marL="307184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accent2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58" name="Textplatzhalter 5">
            <a:extLst>
              <a:ext uri="{FF2B5EF4-FFF2-40B4-BE49-F238E27FC236}">
                <a16:creationId xmlns:a16="http://schemas.microsoft.com/office/drawing/2014/main" id="{C7AFFCF3-31D5-47C2-8DCD-DE6AD9D13FC7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894917" y="5282051"/>
            <a:ext cx="4318000" cy="960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2304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accent2"/>
                </a:solidFill>
                <a:latin typeface="+mj-lt"/>
              </a:defRPr>
            </a:lvl1pPr>
            <a:lvl2pPr marL="153592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2pPr>
            <a:lvl3pPr marL="307184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accent2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60" name="Textplatzhalter 5">
            <a:extLst>
              <a:ext uri="{FF2B5EF4-FFF2-40B4-BE49-F238E27FC236}">
                <a16:creationId xmlns:a16="http://schemas.microsoft.com/office/drawing/2014/main" id="{4E08E9AC-35ED-453A-9217-F6FC978AE9F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5894159" y="1824000"/>
            <a:ext cx="4318000" cy="960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2304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accent2"/>
                </a:solidFill>
                <a:latin typeface="+mj-lt"/>
              </a:defRPr>
            </a:lvl1pPr>
            <a:lvl2pPr marL="153592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2pPr>
            <a:lvl3pPr marL="307184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accent2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5E90315-7DFA-4CC0-894E-7B34320248A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894918" y="1210733"/>
            <a:ext cx="5681132" cy="613267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1533" baseline="0">
                <a:solidFill>
                  <a:schemeClr val="accent2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buNone/>
              <a:defRPr baseline="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90000"/>
              </a:lnSpc>
              <a:buNone/>
              <a:defRPr baseline="0">
                <a:solidFill>
                  <a:schemeClr val="accent2"/>
                </a:solidFill>
                <a:latin typeface="+mj-lt"/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baseline="0">
                <a:solidFill>
                  <a:schemeClr val="accent2"/>
                </a:solidFill>
                <a:latin typeface="+mj-lt"/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baseline="0">
                <a:solidFill>
                  <a:schemeClr val="accent2"/>
                </a:solidFill>
                <a:latin typeface="+mj-lt"/>
              </a:defRPr>
            </a:lvl5pPr>
          </a:lstStyle>
          <a:p>
            <a:pPr lvl="0"/>
            <a:r>
              <a:rPr lang="de-DE"/>
              <a:t>Optionaler Untertitel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156390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330">
          <p15:clr>
            <a:srgbClr val="A4A3A4"/>
          </p15:clr>
        </p15:guide>
        <p15:guide id="2" pos="2785">
          <p15:clr>
            <a:srgbClr val="A4A3A4"/>
          </p15:clr>
        </p15:guide>
        <p15:guide id="3" pos="4826">
          <p15:clr>
            <a:srgbClr val="A4A3A4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ire area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E509C97-52CE-4BC8-84C1-1EA75420A78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4400" y="7377600"/>
            <a:ext cx="1440000" cy="240000"/>
          </a:xfrm>
        </p:spPr>
        <p:txBody>
          <a:bodyPr/>
          <a:lstStyle/>
          <a:p>
            <a:fld id="{9D5882E6-5A22-4870-8A11-3A4CBC7E8CC8}" type="datetime1">
              <a:rPr lang="de-DE" kern="600" smtClean="0"/>
              <a:t>11.05.2023</a:t>
            </a:fld>
            <a:endParaRPr lang="de-CH" kern="60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56AE9BF-81C3-48FC-A276-BE1C691452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54400" y="7377600"/>
            <a:ext cx="8083200" cy="240000"/>
          </a:xfrm>
        </p:spPr>
        <p:txBody>
          <a:bodyPr/>
          <a:lstStyle/>
          <a:p>
            <a:endParaRPr lang="de-CH" kern="60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57EBFA1-7E9E-42B3-920C-311E998B0B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136052" y="7377600"/>
            <a:ext cx="1440001" cy="240000"/>
          </a:xfrm>
        </p:spPr>
        <p:txBody>
          <a:bodyPr/>
          <a:lstStyle/>
          <a:p>
            <a:fld id="{5B84BE2A-AF72-474C-A580-796179F45542}" type="slidenum">
              <a:rPr lang="de-CH" smtClean="0"/>
              <a:pPr/>
              <a:t>‹Nr.›</a:t>
            </a:fld>
            <a:endParaRPr lang="de-CH" kern="60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6F6B802-D23F-4D03-B8B1-7F19BA4D2F1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5405C008-F7C1-449C-BAD7-4607EDB1FD8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" y="0"/>
            <a:ext cx="12191999" cy="6858000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7541826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>
            <a:extLst>
              <a:ext uri="{FF2B5EF4-FFF2-40B4-BE49-F238E27FC236}">
                <a16:creationId xmlns:a16="http://schemas.microsoft.com/office/drawing/2014/main" id="{CB042353-23B1-4231-9140-0703368876E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1F3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1433744D-B2F6-46E3-909C-E463B29BF7A3}"/>
              </a:ext>
            </a:extLst>
          </p:cNvPr>
          <p:cNvSpPr/>
          <p:nvPr userDrawn="1"/>
        </p:nvSpPr>
        <p:spPr>
          <a:xfrm>
            <a:off x="0" y="313268"/>
            <a:ext cx="12192000" cy="8974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AA960B82-D397-4876-B6B1-ECB853A3210D}"/>
              </a:ext>
            </a:extLst>
          </p:cNvPr>
          <p:cNvSpPr/>
          <p:nvPr userDrawn="1"/>
        </p:nvSpPr>
        <p:spPr>
          <a:xfrm>
            <a:off x="0" y="313268"/>
            <a:ext cx="124800" cy="8974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9C00F691-D5BB-4B02-9687-4FBD883954B2}"/>
              </a:ext>
            </a:extLst>
          </p:cNvPr>
          <p:cNvGrpSpPr/>
          <p:nvPr userDrawn="1"/>
        </p:nvGrpSpPr>
        <p:grpSpPr>
          <a:xfrm>
            <a:off x="10136049" y="559792"/>
            <a:ext cx="1440000" cy="404419"/>
            <a:chOff x="-5709525" y="-5645283"/>
            <a:chExt cx="19213689" cy="5396089"/>
          </a:xfrm>
        </p:grpSpPr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BBBB8581-2448-4EF8-B172-F3C645BB152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5709525" y="-5645283"/>
              <a:ext cx="19213689" cy="5396089"/>
            </a:xfrm>
            <a:prstGeom prst="rect">
              <a:avLst/>
            </a:prstGeom>
          </p:spPr>
        </p:pic>
        <p:sp>
          <p:nvSpPr>
            <p:cNvPr id="23" name="Freeform 26">
              <a:extLst>
                <a:ext uri="{FF2B5EF4-FFF2-40B4-BE49-F238E27FC236}">
                  <a16:creationId xmlns:a16="http://schemas.microsoft.com/office/drawing/2014/main" id="{72B5B87F-0459-411D-9A48-65B11E8799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709525" y="-5645283"/>
              <a:ext cx="1287463" cy="1493837"/>
            </a:xfrm>
            <a:custGeom>
              <a:avLst/>
              <a:gdLst>
                <a:gd name="T0" fmla="*/ 86 w 114"/>
                <a:gd name="T1" fmla="*/ 0 h 132"/>
                <a:gd name="T2" fmla="*/ 1 w 114"/>
                <a:gd name="T3" fmla="*/ 20 h 132"/>
                <a:gd name="T4" fmla="*/ 0 w 114"/>
                <a:gd name="T5" fmla="*/ 31 h 132"/>
                <a:gd name="T6" fmla="*/ 31 w 114"/>
                <a:gd name="T7" fmla="*/ 132 h 132"/>
                <a:gd name="T8" fmla="*/ 114 w 114"/>
                <a:gd name="T9" fmla="*/ 115 h 132"/>
                <a:gd name="T10" fmla="*/ 114 w 114"/>
                <a:gd name="T11" fmla="*/ 106 h 132"/>
                <a:gd name="T12" fmla="*/ 94 w 114"/>
                <a:gd name="T13" fmla="*/ 0 h 132"/>
                <a:gd name="T14" fmla="*/ 86 w 114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32">
                  <a:moveTo>
                    <a:pt x="86" y="0"/>
                  </a:moveTo>
                  <a:cubicBezTo>
                    <a:pt x="52" y="0"/>
                    <a:pt x="25" y="8"/>
                    <a:pt x="1" y="20"/>
                  </a:cubicBezTo>
                  <a:cubicBezTo>
                    <a:pt x="1" y="23"/>
                    <a:pt x="0" y="25"/>
                    <a:pt x="0" y="31"/>
                  </a:cubicBezTo>
                  <a:cubicBezTo>
                    <a:pt x="0" y="56"/>
                    <a:pt x="18" y="102"/>
                    <a:pt x="31" y="132"/>
                  </a:cubicBezTo>
                  <a:cubicBezTo>
                    <a:pt x="56" y="132"/>
                    <a:pt x="92" y="125"/>
                    <a:pt x="114" y="115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81"/>
                    <a:pt x="113" y="24"/>
                    <a:pt x="94" y="0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sz="240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eingeben</a:t>
            </a:r>
            <a:endParaRPr lang="en-US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5B4D4E7F-F213-44BF-8BFB-3B98D17FDD0B}"/>
              </a:ext>
            </a:extLst>
          </p:cNvPr>
          <p:cNvGrpSpPr/>
          <p:nvPr userDrawn="1"/>
        </p:nvGrpSpPr>
        <p:grpSpPr>
          <a:xfrm>
            <a:off x="-3840000" y="1824569"/>
            <a:ext cx="3360000" cy="3421565"/>
            <a:chOff x="9144000" y="1419149"/>
            <a:chExt cx="2880000" cy="2566174"/>
          </a:xfrm>
          <a:solidFill>
            <a:schemeClr val="accent2"/>
          </a:solidFill>
        </p:grpSpPr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21AE6EB8-90B9-48D9-A023-B49A4BEBF5F1}"/>
                </a:ext>
              </a:extLst>
            </p:cNvPr>
            <p:cNvSpPr txBox="1"/>
            <p:nvPr userDrawn="1"/>
          </p:nvSpPr>
          <p:spPr>
            <a:xfrm flipH="1">
              <a:off x="9144000" y="1419149"/>
              <a:ext cx="2880000" cy="2566174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108000" tIns="54000" rIns="108000" bIns="54000" rtlCol="0">
              <a:spAutoFit/>
            </a:bodyPr>
            <a:lstStyle/>
            <a:p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Texte richtig formatieren:</a:t>
              </a:r>
            </a:p>
            <a:p>
              <a:r>
                <a:rPr lang="de-DE" sz="1133" b="0" kern="600">
                  <a:solidFill>
                    <a:schemeClr val="bg1"/>
                  </a:solidFill>
                  <a:latin typeface="+mn-lt"/>
                </a:rPr>
                <a:t>Texte werden über die »Textebenen« richtig formatiert. Setzen Sie den Cursor in den gewünschten Absatz und wechseln Sie unter </a:t>
              </a:r>
              <a:br>
                <a:rPr lang="de-DE" sz="1133" b="0" kern="600">
                  <a:solidFill>
                    <a:schemeClr val="bg1"/>
                  </a:solidFill>
                  <a:latin typeface="+mn-lt"/>
                </a:rPr>
              </a:br>
              <a:r>
                <a:rPr lang="de-DE" sz="1133" b="0" kern="600">
                  <a:solidFill>
                    <a:schemeClr val="bg1"/>
                  </a:solidFill>
                  <a:latin typeface="+mn-lt"/>
                </a:rPr>
                <a:t>»Start -&gt; Absatz« eine Ebene weiter bzw. zurück.</a:t>
              </a:r>
              <a:br>
                <a:rPr lang="de-DE" sz="1133" b="0" kern="600">
                  <a:solidFill>
                    <a:schemeClr val="bg1"/>
                  </a:solidFill>
                  <a:latin typeface="+mn-lt"/>
                </a:rPr>
              </a:br>
              <a:br>
                <a:rPr lang="de-DE" sz="1133" b="0" kern="600">
                  <a:solidFill>
                    <a:schemeClr val="bg1"/>
                  </a:solidFill>
                  <a:latin typeface="+mn-lt"/>
                </a:rPr>
              </a:br>
              <a:br>
                <a:rPr lang="de-DE" sz="1133" b="0" kern="600">
                  <a:solidFill>
                    <a:schemeClr val="bg1"/>
                  </a:solidFill>
                  <a:latin typeface="+mn-lt"/>
                </a:rPr>
              </a:br>
              <a:br>
                <a:rPr lang="de-DE" sz="1133" b="0" kern="600">
                  <a:solidFill>
                    <a:schemeClr val="bg1"/>
                  </a:solidFill>
                  <a:latin typeface="+mn-lt"/>
                </a:rPr>
              </a:br>
              <a:br>
                <a:rPr lang="de-DE" sz="1133" b="0" kern="600">
                  <a:solidFill>
                    <a:schemeClr val="bg1"/>
                  </a:solidFill>
                  <a:latin typeface="+mn-lt"/>
                </a:rPr>
              </a:br>
              <a:endParaRPr lang="de-DE" sz="1133" b="0" kern="600">
                <a:solidFill>
                  <a:schemeClr val="bg1"/>
                </a:solidFill>
                <a:latin typeface="+mn-lt"/>
              </a:endParaRPr>
            </a:p>
            <a:p>
              <a:endParaRPr lang="de-DE" sz="1133" b="0" kern="600">
                <a:solidFill>
                  <a:schemeClr val="bg1"/>
                </a:solidFill>
                <a:latin typeface="+mn-lt"/>
              </a:endParaRPr>
            </a:p>
            <a:p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Diese Vorgehensweise gilt für</a:t>
              </a:r>
              <a:r>
                <a:rPr lang="de-DE" sz="1133" b="0" kern="600" baseline="0">
                  <a:solidFill>
                    <a:schemeClr val="bg1"/>
                  </a:solidFill>
                  <a:latin typeface="+mj-lt"/>
                </a:rPr>
                <a:t> sämtliche enthaltenen </a:t>
              </a:r>
              <a:r>
                <a:rPr lang="de-DE" sz="1133" b="0" kern="600" baseline="0" err="1">
                  <a:solidFill>
                    <a:schemeClr val="bg1"/>
                  </a:solidFill>
                  <a:latin typeface="+mj-lt"/>
                </a:rPr>
                <a:t>Layoutmaster</a:t>
              </a:r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.</a:t>
              </a:r>
            </a:p>
            <a:p>
              <a:endParaRPr lang="de-DE" sz="1133" b="0" kern="600">
                <a:solidFill>
                  <a:schemeClr val="bg1"/>
                </a:solidFill>
                <a:latin typeface="+mj-lt"/>
              </a:endParaRPr>
            </a:p>
            <a:p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Hier enthalten:</a:t>
              </a:r>
            </a:p>
            <a:p>
              <a:r>
                <a:rPr lang="de-DE" sz="1133" b="0" kern="600">
                  <a:solidFill>
                    <a:schemeClr val="bg1"/>
                  </a:solidFill>
                  <a:latin typeface="+mn-lt"/>
                </a:rPr>
                <a:t>Ebenen</a:t>
              </a:r>
              <a:r>
                <a:rPr lang="de-DE" sz="1133" b="0" kern="600" baseline="0">
                  <a:solidFill>
                    <a:schemeClr val="bg1"/>
                  </a:solidFill>
                  <a:latin typeface="+mn-lt"/>
                </a:rPr>
                <a:t> 1 bis 5 = Auflistungs-Ebenen</a:t>
              </a:r>
            </a:p>
            <a:p>
              <a:r>
                <a:rPr lang="de-DE" sz="1133" b="0" kern="600" baseline="0">
                  <a:solidFill>
                    <a:schemeClr val="bg1"/>
                  </a:solidFill>
                  <a:latin typeface="+mn-lt"/>
                </a:rPr>
                <a:t>Ebene 6 = Untertitel mit Abstand</a:t>
              </a:r>
            </a:p>
            <a:p>
              <a:pPr marL="0" marR="0" lvl="0" indent="0" algn="l" defTabSz="609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133" b="0" kern="600" baseline="0">
                  <a:solidFill>
                    <a:schemeClr val="bg1"/>
                  </a:solidFill>
                  <a:latin typeface="+mn-lt"/>
                </a:rPr>
                <a:t>Ebene 7 = Kleiner Text, fett (Legenden-Titel)</a:t>
              </a:r>
              <a:endParaRPr lang="de-CH" sz="1133" b="0" kern="600">
                <a:solidFill>
                  <a:schemeClr val="bg1"/>
                </a:solidFill>
                <a:latin typeface="+mn-lt"/>
              </a:endParaRPr>
            </a:p>
            <a:p>
              <a:r>
                <a:rPr lang="de-DE" sz="1133" b="0" kern="600" baseline="0">
                  <a:solidFill>
                    <a:schemeClr val="bg1"/>
                  </a:solidFill>
                  <a:latin typeface="+mn-lt"/>
                </a:rPr>
                <a:t>Ebene 8 = Kleiner Text (Legenden)</a:t>
              </a:r>
              <a:endParaRPr lang="de-CH" sz="1133" b="0" kern="600">
                <a:solidFill>
                  <a:schemeClr val="bg1"/>
                </a:solidFill>
                <a:latin typeface="+mn-lt"/>
              </a:endParaRPr>
            </a:p>
          </p:txBody>
        </p:sp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ED1A6524-017D-42FA-A04E-3F12122C255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44799" y="2169871"/>
              <a:ext cx="2521785" cy="638937"/>
            </a:xfrm>
            <a:prstGeom prst="rect">
              <a:avLst/>
            </a:prstGeom>
            <a:grpFill/>
          </p:spPr>
        </p:pic>
      </p:grp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E72B0C4-0971-4902-803B-32B54CC8DDD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4401" y="1824001"/>
            <a:ext cx="10961651" cy="4418051"/>
          </a:xfrm>
        </p:spPr>
        <p:txBody>
          <a:bodyPr/>
          <a:lstStyle>
            <a:lvl1pPr marL="307184" indent="-307184">
              <a:buClr>
                <a:schemeClr val="tx1"/>
              </a:buClr>
              <a:buSzPct val="110000"/>
              <a:buFont typeface="Source Sans Pro Semibold" panose="020B0603030403020204" pitchFamily="34" charset="0"/>
              <a:buChar char="›"/>
              <a:defRPr/>
            </a:lvl1pPr>
            <a:lvl2pPr marL="614370">
              <a:defRPr/>
            </a:lvl2pPr>
            <a:lvl3pPr marL="921554">
              <a:defRPr/>
            </a:lvl3pPr>
            <a:lvl4pPr marL="1228739" indent="-307184">
              <a:buClr>
                <a:schemeClr val="tx1"/>
              </a:buClr>
              <a:buSzPct val="110000"/>
              <a:buFont typeface="Source Sans Pro Semibold" panose="020B0603030403020204" pitchFamily="34" charset="0"/>
              <a:buChar char="›"/>
              <a:defRPr/>
            </a:lvl4pPr>
            <a:lvl5pPr marL="1535924" indent="-307184">
              <a:buClr>
                <a:schemeClr val="tx1"/>
              </a:buClr>
              <a:buSzPct val="110000"/>
              <a:buFont typeface="Source Sans Pro Semibold" panose="020B0603030403020204" pitchFamily="34" charset="0"/>
              <a:buChar char="›"/>
              <a:defRPr/>
            </a:lvl5pPr>
            <a:lvl6pPr>
              <a:defRPr/>
            </a:lvl6pPr>
            <a:lvl8pPr>
              <a:defRPr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5CFAD176-EA8A-4B99-AD7B-D5774BA43A4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13836" y="6417600"/>
            <a:ext cx="9523765" cy="240000"/>
          </a:xfrm>
        </p:spPr>
        <p:txBody>
          <a:bodyPr/>
          <a:lstStyle>
            <a:lvl1pPr algn="l">
              <a:defRPr/>
            </a:lvl1pPr>
          </a:lstStyle>
          <a:p>
            <a:pPr algn="l"/>
            <a:endParaRPr lang="de-CH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283C25A4-6C9B-4849-BF5C-52E4003FF79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84BE2A-AF72-474C-A580-796179F45542}" type="slidenum">
              <a:rPr lang="de-CH" smtClean="0"/>
              <a:pPr/>
              <a:t>‹Nr.›</a:t>
            </a:fld>
            <a:endParaRPr lang="de-CH" kern="600"/>
          </a:p>
        </p:txBody>
      </p:sp>
    </p:spTree>
    <p:extLst>
      <p:ext uri="{BB962C8B-B14F-4D97-AF65-F5344CB8AC3E}">
        <p14:creationId xmlns:p14="http://schemas.microsoft.com/office/powerpoint/2010/main" val="19922698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83436" y="2313433"/>
            <a:ext cx="4270248" cy="704087"/>
          </a:xfrm>
        </p:spPr>
        <p:txBody>
          <a:bodyPr anchor="b" anchorCtr="1">
            <a:normAutofit/>
          </a:bodyPr>
          <a:lstStyle>
            <a:lvl1pPr marL="0" indent="0" algn="ctr">
              <a:buNone/>
              <a:defRPr sz="1900" b="0" cap="all" spc="1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583436" y="3143250"/>
            <a:ext cx="4270248" cy="259677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38316" y="3143250"/>
            <a:ext cx="4253484" cy="2596776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338316" y="2313433"/>
            <a:ext cx="4270248" cy="704087"/>
          </a:xfrm>
        </p:spPr>
        <p:txBody>
          <a:bodyPr anchor="b" anchorCtr="1">
            <a:normAutofit/>
          </a:bodyPr>
          <a:lstStyle>
            <a:lvl1pPr marL="0" indent="0" algn="ctr">
              <a:buNone/>
              <a:defRPr sz="1900" b="0" cap="all" spc="1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B4D32F-122F-4D69-BA2D-ED0AABEF3798}" type="datetimeFigureOut">
              <a:rPr lang="de-DE" smtClean="0"/>
              <a:t>11.05.2023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F35C4-A9C7-4A18-8B91-2212F20329C2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887100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3 pictur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hteck 31">
            <a:extLst>
              <a:ext uri="{FF2B5EF4-FFF2-40B4-BE49-F238E27FC236}">
                <a16:creationId xmlns:a16="http://schemas.microsoft.com/office/drawing/2014/main" id="{E4206195-4D56-45E2-A8A6-B93360BBC29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1F3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D86E6711-936E-40B2-94FD-400986333C00}"/>
              </a:ext>
            </a:extLst>
          </p:cNvPr>
          <p:cNvSpPr/>
          <p:nvPr userDrawn="1"/>
        </p:nvSpPr>
        <p:spPr>
          <a:xfrm>
            <a:off x="0" y="313268"/>
            <a:ext cx="12192000" cy="8974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E808EC03-21CD-4E93-B43D-C8349D729B2A}"/>
              </a:ext>
            </a:extLst>
          </p:cNvPr>
          <p:cNvSpPr/>
          <p:nvPr userDrawn="1"/>
        </p:nvSpPr>
        <p:spPr>
          <a:xfrm>
            <a:off x="0" y="313268"/>
            <a:ext cx="124800" cy="8974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8E555CA7-2E18-488B-9CD3-7E037894209F}"/>
              </a:ext>
            </a:extLst>
          </p:cNvPr>
          <p:cNvGrpSpPr/>
          <p:nvPr userDrawn="1"/>
        </p:nvGrpSpPr>
        <p:grpSpPr>
          <a:xfrm>
            <a:off x="10136049" y="559792"/>
            <a:ext cx="1440000" cy="404419"/>
            <a:chOff x="-5709525" y="-5645283"/>
            <a:chExt cx="19213689" cy="5396089"/>
          </a:xfrm>
        </p:grpSpPr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26E8E0F9-3D57-493A-87CE-FA47FA91DF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5709525" y="-5645283"/>
              <a:ext cx="19213689" cy="5396089"/>
            </a:xfrm>
            <a:prstGeom prst="rect">
              <a:avLst/>
            </a:prstGeom>
          </p:spPr>
        </p:pic>
        <p:sp>
          <p:nvSpPr>
            <p:cNvPr id="37" name="Freeform 26">
              <a:extLst>
                <a:ext uri="{FF2B5EF4-FFF2-40B4-BE49-F238E27FC236}">
                  <a16:creationId xmlns:a16="http://schemas.microsoft.com/office/drawing/2014/main" id="{9ED849EA-9624-4F9B-B9DE-74B609F1A5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709525" y="-5645283"/>
              <a:ext cx="1287463" cy="1493837"/>
            </a:xfrm>
            <a:custGeom>
              <a:avLst/>
              <a:gdLst>
                <a:gd name="T0" fmla="*/ 86 w 114"/>
                <a:gd name="T1" fmla="*/ 0 h 132"/>
                <a:gd name="T2" fmla="*/ 1 w 114"/>
                <a:gd name="T3" fmla="*/ 20 h 132"/>
                <a:gd name="T4" fmla="*/ 0 w 114"/>
                <a:gd name="T5" fmla="*/ 31 h 132"/>
                <a:gd name="T6" fmla="*/ 31 w 114"/>
                <a:gd name="T7" fmla="*/ 132 h 132"/>
                <a:gd name="T8" fmla="*/ 114 w 114"/>
                <a:gd name="T9" fmla="*/ 115 h 132"/>
                <a:gd name="T10" fmla="*/ 114 w 114"/>
                <a:gd name="T11" fmla="*/ 106 h 132"/>
                <a:gd name="T12" fmla="*/ 94 w 114"/>
                <a:gd name="T13" fmla="*/ 0 h 132"/>
                <a:gd name="T14" fmla="*/ 86 w 114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32">
                  <a:moveTo>
                    <a:pt x="86" y="0"/>
                  </a:moveTo>
                  <a:cubicBezTo>
                    <a:pt x="52" y="0"/>
                    <a:pt x="25" y="8"/>
                    <a:pt x="1" y="20"/>
                  </a:cubicBezTo>
                  <a:cubicBezTo>
                    <a:pt x="1" y="23"/>
                    <a:pt x="0" y="25"/>
                    <a:pt x="0" y="31"/>
                  </a:cubicBezTo>
                  <a:cubicBezTo>
                    <a:pt x="0" y="56"/>
                    <a:pt x="18" y="102"/>
                    <a:pt x="31" y="132"/>
                  </a:cubicBezTo>
                  <a:cubicBezTo>
                    <a:pt x="56" y="132"/>
                    <a:pt x="92" y="125"/>
                    <a:pt x="114" y="115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81"/>
                    <a:pt x="113" y="24"/>
                    <a:pt x="94" y="0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sz="240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eingeben</a:t>
            </a:r>
            <a:endParaRPr lang="en-US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BB891EF0-9A2C-40F1-A333-9199228FED3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13831" y="1824565"/>
            <a:ext cx="3652800" cy="2256369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algn="ctr">
              <a:lnSpc>
                <a:spcPts val="2067"/>
              </a:lnSpc>
              <a:spcBef>
                <a:spcPts val="0"/>
              </a:spcBef>
              <a:defRPr sz="1533" baseline="0">
                <a:latin typeface="+mj-lt"/>
              </a:defRPr>
            </a:lvl1pPr>
          </a:lstStyle>
          <a:p>
            <a:r>
              <a:rPr lang="de-CH"/>
              <a:t>Klicken Sie auf das Bild-Symbol in der Mitte um ein Bild hier zu platzieren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2BA4C121-BDE0-4DF7-83FA-79277A5CB2CB}"/>
              </a:ext>
            </a:extLst>
          </p:cNvPr>
          <p:cNvSpPr txBox="1"/>
          <p:nvPr userDrawn="1"/>
        </p:nvSpPr>
        <p:spPr>
          <a:xfrm>
            <a:off x="-3840000" y="4171202"/>
            <a:ext cx="3360000" cy="1540147"/>
          </a:xfrm>
          <a:prstGeom prst="rect">
            <a:avLst/>
          </a:prstGeom>
          <a:solidFill>
            <a:schemeClr val="accent2"/>
          </a:solidFill>
        </p:spPr>
        <p:txBody>
          <a:bodyPr wrap="square" lIns="144000" tIns="72000" rIns="144000" bIns="72000" rtlCol="0">
            <a:spAutoFit/>
          </a:bodyPr>
          <a:lstStyle/>
          <a:p>
            <a:r>
              <a:rPr lang="de-DE" sz="1133" b="0" kern="600">
                <a:solidFill>
                  <a:schemeClr val="bg1"/>
                </a:solidFill>
                <a:latin typeface="+mj-lt"/>
              </a:rPr>
              <a:t>Enthaltene Textebenen:</a:t>
            </a:r>
          </a:p>
          <a:p>
            <a:r>
              <a:rPr lang="de-DE" sz="1133" b="0" kern="600">
                <a:solidFill>
                  <a:schemeClr val="bg1"/>
                </a:solidFill>
                <a:latin typeface="+mn-lt"/>
              </a:rPr>
              <a:t>Ebene</a:t>
            </a: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 1 = Titel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2 = Auflist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3 = Auflist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4 = Nummerier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5 = Nummerier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6 = Untertitel mit Abstand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7 = Legende</a:t>
            </a: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726F897D-DEC3-48A9-85BB-D4B69C2391E6}"/>
              </a:ext>
            </a:extLst>
          </p:cNvPr>
          <p:cNvGrpSpPr/>
          <p:nvPr userDrawn="1"/>
        </p:nvGrpSpPr>
        <p:grpSpPr>
          <a:xfrm flipH="1">
            <a:off x="-3840000" y="313268"/>
            <a:ext cx="3360000" cy="3770250"/>
            <a:chOff x="-2880000" y="1428750"/>
            <a:chExt cx="2520000" cy="2827687"/>
          </a:xfrm>
        </p:grpSpPr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34C64702-85E3-443E-BF9D-36A0D33E46B4}"/>
                </a:ext>
              </a:extLst>
            </p:cNvPr>
            <p:cNvSpPr txBox="1"/>
            <p:nvPr userDrawn="1"/>
          </p:nvSpPr>
          <p:spPr>
            <a:xfrm flipH="1">
              <a:off x="-2880000" y="1428750"/>
              <a:ext cx="2520000" cy="2827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108000" tIns="54000" rIns="108000" bIns="54000" rtlCol="0">
              <a:spAutoFit/>
            </a:bodyPr>
            <a:lstStyle/>
            <a:p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Bilder einfügen:</a:t>
              </a:r>
            </a:p>
            <a:p>
              <a:pPr marL="153592" indent="-153592">
                <a:buAutoNum type="arabicPeriod"/>
              </a:pPr>
              <a:r>
                <a:rPr lang="de-DE" sz="1133" b="0" kern="600" baseline="0">
                  <a:solidFill>
                    <a:schemeClr val="bg1"/>
                  </a:solidFill>
                </a:rPr>
                <a:t>Löschen Sie das ggf. bereits vorhandene Bild</a:t>
              </a:r>
            </a:p>
            <a:p>
              <a:pPr marL="153592" indent="-153592">
                <a:buAutoNum type="arabicPeriod"/>
              </a:pPr>
              <a:r>
                <a:rPr lang="de-DE" sz="1133" b="0" kern="600" baseline="0">
                  <a:solidFill>
                    <a:schemeClr val="bg1"/>
                  </a:solidFill>
                </a:rPr>
                <a:t>Klicken Sie auf das Bild-Symbol in der Mitte </a:t>
              </a:r>
              <a:br>
                <a:rPr lang="de-DE" sz="1133" b="0" kern="600" baseline="0">
                  <a:solidFill>
                    <a:schemeClr val="bg1"/>
                  </a:solidFill>
                </a:rPr>
              </a:br>
              <a:r>
                <a:rPr lang="de-DE" sz="1133" b="0" kern="600" baseline="0">
                  <a:solidFill>
                    <a:schemeClr val="bg1"/>
                  </a:solidFill>
                </a:rPr>
                <a:t>des Platzhalters</a:t>
              </a: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r>
                <a:rPr lang="de-DE" sz="1133" b="0" kern="600" baseline="0">
                  <a:solidFill>
                    <a:schemeClr val="bg1"/>
                  </a:solidFill>
                </a:rPr>
                <a:t>Nachdem Sie Ihr Bild platziert haben, können Sie es über »Bildtools -&gt; Zuschneiden« innerhalb der hier definierten »</a:t>
              </a:r>
              <a:r>
                <a:rPr lang="de-DE" sz="1133" b="0" kern="600" baseline="0" err="1">
                  <a:solidFill>
                    <a:schemeClr val="bg1"/>
                  </a:solidFill>
                </a:rPr>
                <a:t>Bildbox</a:t>
              </a:r>
              <a:r>
                <a:rPr lang="de-DE" sz="1133" b="0" kern="600" baseline="0">
                  <a:solidFill>
                    <a:schemeClr val="bg1"/>
                  </a:solidFill>
                </a:rPr>
                <a:t>« verschieben und/oder beschneiden. Die enthaltenen Hilfslinien helfen bei der richtigen Positionierung.</a:t>
              </a:r>
              <a:r>
                <a:rPr lang="de-CH" sz="1133" b="0" kern="600" baseline="0">
                  <a:solidFill>
                    <a:schemeClr val="bg1"/>
                  </a:solidFill>
                </a:rPr>
                <a:t> Durch Klicken auf »Einpassen« wird das Bild passend skaliert.</a:t>
              </a: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95B5EB24-2D14-43AA-88D7-7A4C16AE068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p:blipFill>
          <p:spPr>
            <a:xfrm flipH="1">
              <a:off x="-1589225" y="3001763"/>
              <a:ext cx="1088246" cy="1143924"/>
            </a:xfrm>
            <a:prstGeom prst="rect">
              <a:avLst/>
            </a:prstGeom>
          </p:spPr>
        </p:pic>
      </p:grp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8C1F4-CC17-4179-ABF6-E1748E66AC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3829" y="4080933"/>
            <a:ext cx="3653371" cy="2161119"/>
          </a:xfrm>
        </p:spPr>
        <p:txBody>
          <a:bodyPr tIns="201600" rIns="144000"/>
          <a:lstStyle>
            <a:lvl1pPr>
              <a:lnSpc>
                <a:spcPts val="2067"/>
              </a:lnSpc>
              <a:spcBef>
                <a:spcPts val="0"/>
              </a:spcBef>
              <a:defRPr sz="1533">
                <a:latin typeface="+mj-lt"/>
              </a:defRPr>
            </a:lvl1pPr>
            <a:lvl2pPr marL="153592" indent="-153592">
              <a:lnSpc>
                <a:spcPts val="2067"/>
              </a:lnSpc>
              <a:spcBef>
                <a:spcPts val="0"/>
              </a:spcBef>
              <a:defRPr sz="1533"/>
            </a:lvl2pPr>
            <a:lvl3pPr marL="307184" indent="-153592">
              <a:lnSpc>
                <a:spcPts val="2067"/>
              </a:lnSpc>
              <a:spcBef>
                <a:spcPts val="0"/>
              </a:spcBef>
              <a:defRPr sz="1533"/>
            </a:lvl3pPr>
            <a:lvl4pPr marL="307184" indent="-307184">
              <a:lnSpc>
                <a:spcPts val="2067"/>
              </a:lnSpc>
              <a:spcBef>
                <a:spcPts val="0"/>
              </a:spcBef>
              <a:defRPr sz="1533"/>
            </a:lvl4pPr>
            <a:lvl5pPr marL="614370" indent="-307184">
              <a:lnSpc>
                <a:spcPts val="2067"/>
              </a:lnSpc>
              <a:spcBef>
                <a:spcPts val="0"/>
              </a:spcBef>
              <a:defRPr sz="1533"/>
            </a:lvl5pPr>
            <a:lvl6pPr>
              <a:lnSpc>
                <a:spcPts val="2067"/>
              </a:lnSpc>
              <a:spcBef>
                <a:spcPts val="1033"/>
              </a:spcBef>
              <a:defRPr sz="1533"/>
            </a:lvl6pPr>
            <a:lvl7pPr>
              <a:defRPr>
                <a:latin typeface="+mn-lt"/>
              </a:defRPr>
            </a:lvl7pPr>
            <a:lvl8pPr>
              <a:defRPr/>
            </a:lvl8pPr>
            <a:lvl9pPr>
              <a:lnSpc>
                <a:spcPts val="2067"/>
              </a:lnSpc>
              <a:defRPr sz="1533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E30AEC71-0B9E-4AEE-B4FE-6E6CD758ABA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924800" y="1824565"/>
            <a:ext cx="3653371" cy="2256369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algn="ctr">
              <a:lnSpc>
                <a:spcPts val="2067"/>
              </a:lnSpc>
              <a:spcBef>
                <a:spcPts val="0"/>
              </a:spcBef>
              <a:defRPr sz="1533" baseline="0">
                <a:latin typeface="+mj-lt"/>
              </a:defRPr>
            </a:lvl1pPr>
          </a:lstStyle>
          <a:p>
            <a:r>
              <a:rPr lang="de-CH"/>
              <a:t>Klicken Sie auf das Bild-Symbol in der Mitte um ein Bild hier zu platzieren</a:t>
            </a:r>
          </a:p>
        </p:txBody>
      </p:sp>
      <p:sp>
        <p:nvSpPr>
          <p:cNvPr id="21" name="Textplatzhalter 5">
            <a:extLst>
              <a:ext uri="{FF2B5EF4-FFF2-40B4-BE49-F238E27FC236}">
                <a16:creationId xmlns:a16="http://schemas.microsoft.com/office/drawing/2014/main" id="{68EAAC17-5F84-4B63-B90D-85591A1828E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924800" y="4080933"/>
            <a:ext cx="3652800" cy="2161119"/>
          </a:xfrm>
        </p:spPr>
        <p:txBody>
          <a:bodyPr tIns="201600" rIns="144000"/>
          <a:lstStyle>
            <a:lvl1pPr>
              <a:lnSpc>
                <a:spcPts val="2067"/>
              </a:lnSpc>
              <a:spcBef>
                <a:spcPts val="0"/>
              </a:spcBef>
              <a:defRPr sz="1533">
                <a:latin typeface="+mj-lt"/>
              </a:defRPr>
            </a:lvl1pPr>
            <a:lvl2pPr marL="153592" indent="-153592">
              <a:lnSpc>
                <a:spcPts val="2067"/>
              </a:lnSpc>
              <a:spcBef>
                <a:spcPts val="0"/>
              </a:spcBef>
              <a:defRPr sz="1533"/>
            </a:lvl2pPr>
            <a:lvl3pPr marL="307184" indent="-153592">
              <a:lnSpc>
                <a:spcPts val="2067"/>
              </a:lnSpc>
              <a:spcBef>
                <a:spcPts val="0"/>
              </a:spcBef>
              <a:defRPr sz="1533"/>
            </a:lvl3pPr>
            <a:lvl4pPr marL="307184" indent="-307184">
              <a:lnSpc>
                <a:spcPts val="2067"/>
              </a:lnSpc>
              <a:spcBef>
                <a:spcPts val="0"/>
              </a:spcBef>
              <a:defRPr sz="1533"/>
            </a:lvl4pPr>
            <a:lvl5pPr marL="614370" indent="-307184">
              <a:lnSpc>
                <a:spcPts val="2067"/>
              </a:lnSpc>
              <a:spcBef>
                <a:spcPts val="0"/>
              </a:spcBef>
              <a:defRPr sz="1533"/>
            </a:lvl5pPr>
            <a:lvl6pPr>
              <a:lnSpc>
                <a:spcPts val="2067"/>
              </a:lnSpc>
              <a:spcBef>
                <a:spcPts val="1033"/>
              </a:spcBef>
              <a:defRPr sz="1533"/>
            </a:lvl6pPr>
            <a:lvl7pPr>
              <a:defRPr>
                <a:latin typeface="+mn-lt"/>
              </a:defRPr>
            </a:lvl7pPr>
            <a:lvl8pPr>
              <a:defRPr/>
            </a:lvl8pPr>
            <a:lvl9pPr>
              <a:lnSpc>
                <a:spcPts val="2067"/>
              </a:lnSpc>
              <a:defRPr sz="1533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Bildplatzhalter 6">
            <a:extLst>
              <a:ext uri="{FF2B5EF4-FFF2-40B4-BE49-F238E27FC236}">
                <a16:creationId xmlns:a16="http://schemas.microsoft.com/office/drawing/2014/main" id="{06716F2B-B3CC-404D-A5B7-451F2AF1781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266631" y="1824565"/>
            <a:ext cx="3658168" cy="2256369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algn="ctr">
              <a:lnSpc>
                <a:spcPts val="2067"/>
              </a:lnSpc>
              <a:spcBef>
                <a:spcPts val="0"/>
              </a:spcBef>
              <a:defRPr sz="1533" baseline="0">
                <a:latin typeface="+mj-lt"/>
              </a:defRPr>
            </a:lvl1pPr>
          </a:lstStyle>
          <a:p>
            <a:r>
              <a:rPr lang="de-CH"/>
              <a:t>Klicken Sie auf das Bild-Symbol in der Mitte um ein Bild hier zu platzieren</a:t>
            </a:r>
          </a:p>
        </p:txBody>
      </p:sp>
      <p:sp>
        <p:nvSpPr>
          <p:cNvPr id="23" name="Textplatzhalter 5">
            <a:extLst>
              <a:ext uri="{FF2B5EF4-FFF2-40B4-BE49-F238E27FC236}">
                <a16:creationId xmlns:a16="http://schemas.microsoft.com/office/drawing/2014/main" id="{E40DA43F-CD18-489E-A619-29289D8144B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67199" y="4080933"/>
            <a:ext cx="3657600" cy="2161119"/>
          </a:xfrm>
        </p:spPr>
        <p:txBody>
          <a:bodyPr tIns="201600" rIns="144000"/>
          <a:lstStyle>
            <a:lvl1pPr>
              <a:lnSpc>
                <a:spcPts val="2067"/>
              </a:lnSpc>
              <a:spcBef>
                <a:spcPts val="0"/>
              </a:spcBef>
              <a:defRPr sz="1533">
                <a:latin typeface="+mj-lt"/>
              </a:defRPr>
            </a:lvl1pPr>
            <a:lvl2pPr marL="153592" indent="-153592">
              <a:lnSpc>
                <a:spcPts val="2067"/>
              </a:lnSpc>
              <a:spcBef>
                <a:spcPts val="0"/>
              </a:spcBef>
              <a:defRPr sz="1533"/>
            </a:lvl2pPr>
            <a:lvl3pPr marL="307184" indent="-153592">
              <a:lnSpc>
                <a:spcPts val="2067"/>
              </a:lnSpc>
              <a:spcBef>
                <a:spcPts val="0"/>
              </a:spcBef>
              <a:defRPr sz="1533"/>
            </a:lvl3pPr>
            <a:lvl4pPr marL="307184" indent="-307184">
              <a:lnSpc>
                <a:spcPts val="2067"/>
              </a:lnSpc>
              <a:spcBef>
                <a:spcPts val="0"/>
              </a:spcBef>
              <a:defRPr sz="1533"/>
            </a:lvl4pPr>
            <a:lvl5pPr marL="614370" indent="-307184">
              <a:lnSpc>
                <a:spcPts val="2067"/>
              </a:lnSpc>
              <a:spcBef>
                <a:spcPts val="0"/>
              </a:spcBef>
              <a:defRPr sz="1533"/>
            </a:lvl5pPr>
            <a:lvl6pPr>
              <a:lnSpc>
                <a:spcPts val="2067"/>
              </a:lnSpc>
              <a:spcBef>
                <a:spcPts val="1033"/>
              </a:spcBef>
              <a:defRPr sz="1533"/>
            </a:lvl6pPr>
            <a:lvl7pPr>
              <a:defRPr>
                <a:latin typeface="+mn-lt"/>
              </a:defRPr>
            </a:lvl7pPr>
            <a:lvl8pPr>
              <a:defRPr/>
            </a:lvl8pPr>
            <a:lvl9pPr>
              <a:lnSpc>
                <a:spcPts val="2067"/>
              </a:lnSpc>
              <a:defRPr sz="1533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8" name="Fußzeilenplatzhalter 27">
            <a:extLst>
              <a:ext uri="{FF2B5EF4-FFF2-40B4-BE49-F238E27FC236}">
                <a16:creationId xmlns:a16="http://schemas.microsoft.com/office/drawing/2014/main" id="{4AB2EA0E-845C-4290-8413-9B0A56D9AA1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613829" y="6417600"/>
            <a:ext cx="9523771" cy="240000"/>
          </a:xfrm>
        </p:spPr>
        <p:txBody>
          <a:bodyPr/>
          <a:lstStyle>
            <a:lvl1pPr algn="l">
              <a:defRPr/>
            </a:lvl1pPr>
          </a:lstStyle>
          <a:p>
            <a:pPr algn="l"/>
            <a:endParaRPr lang="de-CH"/>
          </a:p>
        </p:txBody>
      </p:sp>
      <p:sp>
        <p:nvSpPr>
          <p:cNvPr id="29" name="Foliennummernplatzhalter 28">
            <a:extLst>
              <a:ext uri="{FF2B5EF4-FFF2-40B4-BE49-F238E27FC236}">
                <a16:creationId xmlns:a16="http://schemas.microsoft.com/office/drawing/2014/main" id="{2818F05B-0918-4643-AA95-7656F3A900A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5B84BE2A-AF72-474C-A580-796179F45542}" type="slidenum">
              <a:rPr lang="de-CH" smtClean="0"/>
              <a:pPr/>
              <a:t>‹Nr.›</a:t>
            </a:fld>
            <a:endParaRPr lang="de-CH" kern="600"/>
          </a:p>
        </p:txBody>
      </p:sp>
    </p:spTree>
    <p:extLst>
      <p:ext uri="{BB962C8B-B14F-4D97-AF65-F5344CB8AC3E}">
        <p14:creationId xmlns:p14="http://schemas.microsoft.com/office/powerpoint/2010/main" val="2833326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51">
          <p15:clr>
            <a:srgbClr val="A4A3A4"/>
          </p15:clr>
        </p15:guide>
        <p15:guide id="2" orient="horz" pos="1928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2 pictur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>
            <a:extLst>
              <a:ext uri="{FF2B5EF4-FFF2-40B4-BE49-F238E27FC236}">
                <a16:creationId xmlns:a16="http://schemas.microsoft.com/office/drawing/2014/main" id="{8415BB38-1FA2-4337-9FED-3AB46A689FD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1F3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9465B5D-F86F-4A5A-B3AB-0CD7A7D91A2E}"/>
              </a:ext>
            </a:extLst>
          </p:cNvPr>
          <p:cNvSpPr/>
          <p:nvPr userDrawn="1"/>
        </p:nvSpPr>
        <p:spPr>
          <a:xfrm>
            <a:off x="0" y="313268"/>
            <a:ext cx="12192000" cy="8974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AEAB81F7-1A0C-42BB-8819-865D1F87C348}"/>
              </a:ext>
            </a:extLst>
          </p:cNvPr>
          <p:cNvSpPr/>
          <p:nvPr userDrawn="1"/>
        </p:nvSpPr>
        <p:spPr>
          <a:xfrm>
            <a:off x="0" y="313268"/>
            <a:ext cx="124800" cy="8974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F8E602B2-6CFA-4730-A25E-02520E57104F}"/>
              </a:ext>
            </a:extLst>
          </p:cNvPr>
          <p:cNvGrpSpPr/>
          <p:nvPr userDrawn="1"/>
        </p:nvGrpSpPr>
        <p:grpSpPr>
          <a:xfrm>
            <a:off x="10136049" y="559792"/>
            <a:ext cx="1440000" cy="404419"/>
            <a:chOff x="-5709525" y="-5645283"/>
            <a:chExt cx="19213689" cy="5396089"/>
          </a:xfrm>
        </p:grpSpPr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0E006610-68D4-49DC-836C-F686EAEEE2B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5709525" y="-5645283"/>
              <a:ext cx="19213689" cy="5396089"/>
            </a:xfrm>
            <a:prstGeom prst="rect">
              <a:avLst/>
            </a:prstGeom>
          </p:spPr>
        </p:pic>
        <p:sp>
          <p:nvSpPr>
            <p:cNvPr id="32" name="Freeform 26">
              <a:extLst>
                <a:ext uri="{FF2B5EF4-FFF2-40B4-BE49-F238E27FC236}">
                  <a16:creationId xmlns:a16="http://schemas.microsoft.com/office/drawing/2014/main" id="{74F05BC3-B1AF-46E3-8C2A-A6893FB832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709525" y="-5645283"/>
              <a:ext cx="1287463" cy="1493837"/>
            </a:xfrm>
            <a:custGeom>
              <a:avLst/>
              <a:gdLst>
                <a:gd name="T0" fmla="*/ 86 w 114"/>
                <a:gd name="T1" fmla="*/ 0 h 132"/>
                <a:gd name="T2" fmla="*/ 1 w 114"/>
                <a:gd name="T3" fmla="*/ 20 h 132"/>
                <a:gd name="T4" fmla="*/ 0 w 114"/>
                <a:gd name="T5" fmla="*/ 31 h 132"/>
                <a:gd name="T6" fmla="*/ 31 w 114"/>
                <a:gd name="T7" fmla="*/ 132 h 132"/>
                <a:gd name="T8" fmla="*/ 114 w 114"/>
                <a:gd name="T9" fmla="*/ 115 h 132"/>
                <a:gd name="T10" fmla="*/ 114 w 114"/>
                <a:gd name="T11" fmla="*/ 106 h 132"/>
                <a:gd name="T12" fmla="*/ 94 w 114"/>
                <a:gd name="T13" fmla="*/ 0 h 132"/>
                <a:gd name="T14" fmla="*/ 86 w 114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32">
                  <a:moveTo>
                    <a:pt x="86" y="0"/>
                  </a:moveTo>
                  <a:cubicBezTo>
                    <a:pt x="52" y="0"/>
                    <a:pt x="25" y="8"/>
                    <a:pt x="1" y="20"/>
                  </a:cubicBezTo>
                  <a:cubicBezTo>
                    <a:pt x="1" y="23"/>
                    <a:pt x="0" y="25"/>
                    <a:pt x="0" y="31"/>
                  </a:cubicBezTo>
                  <a:cubicBezTo>
                    <a:pt x="0" y="56"/>
                    <a:pt x="18" y="102"/>
                    <a:pt x="31" y="132"/>
                  </a:cubicBezTo>
                  <a:cubicBezTo>
                    <a:pt x="56" y="132"/>
                    <a:pt x="92" y="125"/>
                    <a:pt x="114" y="115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81"/>
                    <a:pt x="113" y="24"/>
                    <a:pt x="94" y="0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sz="240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eingeben</a:t>
            </a:r>
            <a:endParaRPr lang="en-US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BB891EF0-9A2C-40F1-A333-9199228FED3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13832" y="1824565"/>
            <a:ext cx="5482169" cy="2256369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ts val="2067"/>
              </a:lnSpc>
              <a:spcBef>
                <a:spcPts val="0"/>
              </a:spcBef>
              <a:defRPr sz="1533" baseline="0">
                <a:latin typeface="+mj-lt"/>
              </a:defRPr>
            </a:lvl1pPr>
          </a:lstStyle>
          <a:p>
            <a:r>
              <a:rPr lang="de-CH"/>
              <a:t>Klicken Sie auf das Bild-Symbol in der Mitte um ein Bild hier zu platzieren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2BA4C121-BDE0-4DF7-83FA-79277A5CB2CB}"/>
              </a:ext>
            </a:extLst>
          </p:cNvPr>
          <p:cNvSpPr txBox="1"/>
          <p:nvPr userDrawn="1"/>
        </p:nvSpPr>
        <p:spPr>
          <a:xfrm>
            <a:off x="-3840000" y="4171202"/>
            <a:ext cx="3360000" cy="1540147"/>
          </a:xfrm>
          <a:prstGeom prst="rect">
            <a:avLst/>
          </a:prstGeom>
          <a:solidFill>
            <a:schemeClr val="accent2"/>
          </a:solidFill>
        </p:spPr>
        <p:txBody>
          <a:bodyPr wrap="square" lIns="144000" tIns="72000" rIns="144000" bIns="72000" rtlCol="0">
            <a:spAutoFit/>
          </a:bodyPr>
          <a:lstStyle/>
          <a:p>
            <a:r>
              <a:rPr lang="de-DE" sz="1133" b="0" kern="600">
                <a:solidFill>
                  <a:schemeClr val="bg1"/>
                </a:solidFill>
                <a:latin typeface="+mj-lt"/>
              </a:rPr>
              <a:t>Enthaltene Textebenen:</a:t>
            </a:r>
          </a:p>
          <a:p>
            <a:r>
              <a:rPr lang="de-DE" sz="1133" b="0" kern="600">
                <a:solidFill>
                  <a:schemeClr val="bg1"/>
                </a:solidFill>
                <a:latin typeface="+mn-lt"/>
              </a:rPr>
              <a:t>Ebene</a:t>
            </a: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 1 = Titel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2 = Auflist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3 = Auflist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4 = Nummerier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5 = Nummerier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6 = Untertitel mit Abstand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7 = Legend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8C1F4-CC17-4179-ABF6-E1748E66AC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3830" y="4080933"/>
            <a:ext cx="5482169" cy="2161119"/>
          </a:xfrm>
        </p:spPr>
        <p:txBody>
          <a:bodyPr tIns="201600" rIns="144000"/>
          <a:lstStyle>
            <a:lvl1pPr>
              <a:lnSpc>
                <a:spcPts val="2067"/>
              </a:lnSpc>
              <a:spcBef>
                <a:spcPts val="0"/>
              </a:spcBef>
              <a:defRPr sz="1533">
                <a:latin typeface="+mj-lt"/>
              </a:defRPr>
            </a:lvl1pPr>
            <a:lvl2pPr marL="153592" indent="-153592">
              <a:lnSpc>
                <a:spcPts val="2067"/>
              </a:lnSpc>
              <a:spcBef>
                <a:spcPts val="0"/>
              </a:spcBef>
              <a:defRPr sz="1533"/>
            </a:lvl2pPr>
            <a:lvl3pPr marL="307184" indent="-153592">
              <a:lnSpc>
                <a:spcPts val="2067"/>
              </a:lnSpc>
              <a:spcBef>
                <a:spcPts val="0"/>
              </a:spcBef>
              <a:defRPr sz="1533"/>
            </a:lvl3pPr>
            <a:lvl4pPr marL="307184" indent="-307184">
              <a:lnSpc>
                <a:spcPts val="2067"/>
              </a:lnSpc>
              <a:spcBef>
                <a:spcPts val="0"/>
              </a:spcBef>
              <a:defRPr sz="1533"/>
            </a:lvl4pPr>
            <a:lvl5pPr marL="614370" indent="-307184">
              <a:lnSpc>
                <a:spcPts val="2067"/>
              </a:lnSpc>
              <a:spcBef>
                <a:spcPts val="0"/>
              </a:spcBef>
              <a:defRPr sz="1533"/>
            </a:lvl5pPr>
            <a:lvl6pPr>
              <a:lnSpc>
                <a:spcPts val="2067"/>
              </a:lnSpc>
              <a:spcBef>
                <a:spcPts val="1033"/>
              </a:spcBef>
              <a:defRPr sz="1533"/>
            </a:lvl6pPr>
            <a:lvl7pPr>
              <a:defRPr>
                <a:latin typeface="+mn-lt"/>
              </a:defRPr>
            </a:lvl7pPr>
            <a:lvl8pPr>
              <a:defRPr/>
            </a:lvl8pPr>
            <a:lvl9pPr>
              <a:lnSpc>
                <a:spcPts val="2067"/>
              </a:lnSpc>
              <a:defRPr sz="1533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E30AEC71-0B9E-4AEE-B4FE-6E6CD758ABA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2" y="1824565"/>
            <a:ext cx="5482169" cy="2256369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ts val="2067"/>
              </a:lnSpc>
              <a:spcBef>
                <a:spcPts val="0"/>
              </a:spcBef>
              <a:defRPr sz="1533" baseline="0">
                <a:latin typeface="+mj-lt"/>
              </a:defRPr>
            </a:lvl1pPr>
          </a:lstStyle>
          <a:p>
            <a:r>
              <a:rPr lang="de-CH"/>
              <a:t>Klicken Sie auf das Bild-Symbol in der Mitte um ein Bild hier zu platzieren</a:t>
            </a:r>
          </a:p>
        </p:txBody>
      </p:sp>
      <p:sp>
        <p:nvSpPr>
          <p:cNvPr id="21" name="Textplatzhalter 5">
            <a:extLst>
              <a:ext uri="{FF2B5EF4-FFF2-40B4-BE49-F238E27FC236}">
                <a16:creationId xmlns:a16="http://schemas.microsoft.com/office/drawing/2014/main" id="{68EAAC17-5F84-4B63-B90D-85591A1828E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2" y="4080933"/>
            <a:ext cx="5482169" cy="2161119"/>
          </a:xfrm>
        </p:spPr>
        <p:txBody>
          <a:bodyPr tIns="201600" rIns="144000"/>
          <a:lstStyle>
            <a:lvl1pPr>
              <a:lnSpc>
                <a:spcPts val="2067"/>
              </a:lnSpc>
              <a:spcBef>
                <a:spcPts val="0"/>
              </a:spcBef>
              <a:defRPr sz="1533">
                <a:latin typeface="+mj-lt"/>
              </a:defRPr>
            </a:lvl1pPr>
            <a:lvl2pPr marL="153592" indent="-153592">
              <a:lnSpc>
                <a:spcPts val="2067"/>
              </a:lnSpc>
              <a:spcBef>
                <a:spcPts val="0"/>
              </a:spcBef>
              <a:defRPr sz="1533"/>
            </a:lvl2pPr>
            <a:lvl3pPr marL="307184" indent="-153592">
              <a:lnSpc>
                <a:spcPts val="2067"/>
              </a:lnSpc>
              <a:spcBef>
                <a:spcPts val="0"/>
              </a:spcBef>
              <a:defRPr sz="1533"/>
            </a:lvl3pPr>
            <a:lvl4pPr marL="307184" indent="-307184">
              <a:lnSpc>
                <a:spcPts val="2067"/>
              </a:lnSpc>
              <a:spcBef>
                <a:spcPts val="0"/>
              </a:spcBef>
              <a:defRPr sz="1533"/>
            </a:lvl4pPr>
            <a:lvl5pPr marL="614370" indent="-307184">
              <a:lnSpc>
                <a:spcPts val="2067"/>
              </a:lnSpc>
              <a:spcBef>
                <a:spcPts val="0"/>
              </a:spcBef>
              <a:defRPr sz="1533"/>
            </a:lvl5pPr>
            <a:lvl6pPr>
              <a:lnSpc>
                <a:spcPts val="2067"/>
              </a:lnSpc>
              <a:spcBef>
                <a:spcPts val="1033"/>
              </a:spcBef>
              <a:defRPr sz="1533"/>
            </a:lvl6pPr>
            <a:lvl7pPr>
              <a:defRPr>
                <a:latin typeface="+mn-lt"/>
              </a:defRPr>
            </a:lvl7pPr>
            <a:lvl8pPr>
              <a:defRPr/>
            </a:lvl8pPr>
            <a:lvl9pPr>
              <a:lnSpc>
                <a:spcPts val="2067"/>
              </a:lnSpc>
              <a:defRPr sz="1533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9756A05F-9E93-449F-AFC4-5334E6434E0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13835" y="6417600"/>
            <a:ext cx="9523767" cy="240000"/>
          </a:xfrm>
        </p:spPr>
        <p:txBody>
          <a:bodyPr/>
          <a:lstStyle>
            <a:lvl1pPr algn="l">
              <a:defRPr/>
            </a:lvl1pPr>
          </a:lstStyle>
          <a:p>
            <a:pPr algn="l"/>
            <a:endParaRPr lang="de-CH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41E153F-68A3-4DFD-91D8-47F0E64EC5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5B84BE2A-AF72-474C-A580-796179F45542}" type="slidenum">
              <a:rPr lang="de-CH" smtClean="0"/>
              <a:pPr/>
              <a:t>‹Nr.›</a:t>
            </a:fld>
            <a:endParaRPr lang="de-CH" kern="600"/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1F792D84-EB8B-4C40-8AB2-94C4A3E52127}"/>
              </a:ext>
            </a:extLst>
          </p:cNvPr>
          <p:cNvGrpSpPr/>
          <p:nvPr userDrawn="1"/>
        </p:nvGrpSpPr>
        <p:grpSpPr>
          <a:xfrm flipH="1">
            <a:off x="-3840000" y="313268"/>
            <a:ext cx="3360000" cy="3770250"/>
            <a:chOff x="-2880000" y="1428750"/>
            <a:chExt cx="2520000" cy="2827687"/>
          </a:xfrm>
        </p:grpSpPr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28BA7F4D-795F-427A-8A05-218C671825E8}"/>
                </a:ext>
              </a:extLst>
            </p:cNvPr>
            <p:cNvSpPr txBox="1"/>
            <p:nvPr userDrawn="1"/>
          </p:nvSpPr>
          <p:spPr>
            <a:xfrm flipH="1">
              <a:off x="-2880000" y="1428750"/>
              <a:ext cx="2520000" cy="2827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108000" tIns="54000" rIns="108000" bIns="54000" rtlCol="0">
              <a:spAutoFit/>
            </a:bodyPr>
            <a:lstStyle/>
            <a:p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Bilder einfügen:</a:t>
              </a:r>
            </a:p>
            <a:p>
              <a:pPr marL="153592" indent="-153592">
                <a:buAutoNum type="arabicPeriod"/>
              </a:pPr>
              <a:r>
                <a:rPr lang="de-DE" sz="1133" b="0" kern="600" baseline="0">
                  <a:solidFill>
                    <a:schemeClr val="bg1"/>
                  </a:solidFill>
                </a:rPr>
                <a:t>Löschen Sie das ggf. bereits vorhandene Bild</a:t>
              </a:r>
            </a:p>
            <a:p>
              <a:pPr marL="153592" indent="-153592">
                <a:buAutoNum type="arabicPeriod"/>
              </a:pPr>
              <a:r>
                <a:rPr lang="de-DE" sz="1133" b="0" kern="600" baseline="0">
                  <a:solidFill>
                    <a:schemeClr val="bg1"/>
                  </a:solidFill>
                </a:rPr>
                <a:t>Klicken Sie auf das Bild-Symbol in der Mitte </a:t>
              </a:r>
              <a:br>
                <a:rPr lang="de-DE" sz="1133" b="0" kern="600" baseline="0">
                  <a:solidFill>
                    <a:schemeClr val="bg1"/>
                  </a:solidFill>
                </a:rPr>
              </a:br>
              <a:r>
                <a:rPr lang="de-DE" sz="1133" b="0" kern="600" baseline="0">
                  <a:solidFill>
                    <a:schemeClr val="bg1"/>
                  </a:solidFill>
                </a:rPr>
                <a:t>des Platzhalters</a:t>
              </a: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r>
                <a:rPr lang="de-DE" sz="1133" b="0" kern="600" baseline="0">
                  <a:solidFill>
                    <a:schemeClr val="bg1"/>
                  </a:solidFill>
                </a:rPr>
                <a:t>Nachdem Sie Ihr Bild platziert haben, können Sie es über »Bildtools -&gt; Zuschneiden« innerhalb der hier definierten »</a:t>
              </a:r>
              <a:r>
                <a:rPr lang="de-DE" sz="1133" b="0" kern="600" baseline="0" err="1">
                  <a:solidFill>
                    <a:schemeClr val="bg1"/>
                  </a:solidFill>
                </a:rPr>
                <a:t>Bildbox</a:t>
              </a:r>
              <a:r>
                <a:rPr lang="de-DE" sz="1133" b="0" kern="600" baseline="0">
                  <a:solidFill>
                    <a:schemeClr val="bg1"/>
                  </a:solidFill>
                </a:rPr>
                <a:t>« verschieben und/oder beschneiden. Die enthaltenen Hilfslinien helfen bei der richtigen Positionierung.</a:t>
              </a:r>
              <a:r>
                <a:rPr lang="de-CH" sz="1133" b="0" kern="600" baseline="0">
                  <a:solidFill>
                    <a:schemeClr val="bg1"/>
                  </a:solidFill>
                </a:rPr>
                <a:t> Durch Klicken auf »Einpassen« wird das Bild passend skaliert.</a:t>
              </a: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</p:txBody>
        </p:sp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A0D66099-7FA3-49BB-BC63-BA08D450FE8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p:blipFill>
          <p:spPr>
            <a:xfrm flipH="1">
              <a:off x="-1589225" y="3001763"/>
              <a:ext cx="1088246" cy="114392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726966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51">
          <p15:clr>
            <a:srgbClr val="A4A3A4"/>
          </p15:clr>
        </p15:guide>
        <p15:guide id="2" orient="horz" pos="1928">
          <p15:clr>
            <a:srgbClr val="FBAE40"/>
          </p15:clr>
        </p15:guide>
        <p15:guide id="3" pos="288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background picture and content">
    <p:bg>
      <p:bgPr>
        <a:solidFill>
          <a:srgbClr val="F1F3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>
            <a:extLst>
              <a:ext uri="{FF2B5EF4-FFF2-40B4-BE49-F238E27FC236}">
                <a16:creationId xmlns:a16="http://schemas.microsoft.com/office/drawing/2014/main" id="{275CEBAF-0AE0-42D6-A3D9-679B966DD20C}"/>
              </a:ext>
            </a:extLst>
          </p:cNvPr>
          <p:cNvSpPr/>
          <p:nvPr userDrawn="1"/>
        </p:nvSpPr>
        <p:spPr>
          <a:xfrm>
            <a:off x="0" y="313268"/>
            <a:ext cx="12192000" cy="8974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B39EB31A-396D-42F6-8B6F-485780EB462F}"/>
              </a:ext>
            </a:extLst>
          </p:cNvPr>
          <p:cNvSpPr/>
          <p:nvPr userDrawn="1"/>
        </p:nvSpPr>
        <p:spPr>
          <a:xfrm>
            <a:off x="0" y="313268"/>
            <a:ext cx="124800" cy="8974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eingeben</a:t>
            </a:r>
            <a:endParaRPr lang="en-US"/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726F897D-DEC3-48A9-85BB-D4B69C2391E6}"/>
              </a:ext>
            </a:extLst>
          </p:cNvPr>
          <p:cNvGrpSpPr/>
          <p:nvPr userDrawn="1"/>
        </p:nvGrpSpPr>
        <p:grpSpPr>
          <a:xfrm flipH="1">
            <a:off x="-3840000" y="313269"/>
            <a:ext cx="3360000" cy="4472091"/>
            <a:chOff x="-2880000" y="1428750"/>
            <a:chExt cx="2520000" cy="3354068"/>
          </a:xfrm>
        </p:grpSpPr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34C64702-85E3-443E-BF9D-36A0D33E46B4}"/>
                </a:ext>
              </a:extLst>
            </p:cNvPr>
            <p:cNvSpPr txBox="1"/>
            <p:nvPr userDrawn="1"/>
          </p:nvSpPr>
          <p:spPr>
            <a:xfrm flipH="1">
              <a:off x="-2880000" y="1428750"/>
              <a:ext cx="2520000" cy="3350715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108000" tIns="54000" rIns="108000" bIns="54000" rtlCol="0">
              <a:spAutoFit/>
            </a:bodyPr>
            <a:lstStyle/>
            <a:p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Hintergrundbild einfügen:</a:t>
              </a:r>
            </a:p>
            <a:p>
              <a:pPr marL="153592" indent="-153592">
                <a:buAutoNum type="arabicPeriod"/>
              </a:pPr>
              <a:r>
                <a:rPr lang="de-DE" sz="1133" b="0" kern="600" baseline="0">
                  <a:solidFill>
                    <a:schemeClr val="bg1"/>
                  </a:solidFill>
                </a:rPr>
                <a:t>Rechtsklick &gt; </a:t>
              </a:r>
              <a:r>
                <a:rPr lang="de-DE" sz="1133" b="0" kern="600" baseline="0" err="1">
                  <a:solidFill>
                    <a:schemeClr val="bg1"/>
                  </a:solidFill>
                </a:rPr>
                <a:t>Hintegrund</a:t>
              </a:r>
              <a:r>
                <a:rPr lang="de-DE" sz="1133" b="0" kern="600" baseline="0">
                  <a:solidFill>
                    <a:schemeClr val="bg1"/>
                  </a:solidFill>
                </a:rPr>
                <a:t> formatieren…</a:t>
              </a:r>
            </a:p>
            <a:p>
              <a:pPr marL="153592" indent="-153592">
                <a:buAutoNum type="arabicPeriod"/>
              </a:pPr>
              <a:r>
                <a:rPr lang="de-DE" sz="1133" b="0" kern="600" baseline="0">
                  <a:solidFill>
                    <a:schemeClr val="bg1"/>
                  </a:solidFill>
                </a:rPr>
                <a:t>Aktivieren Sie «Bild- oder Texturfüllung» </a:t>
              </a:r>
              <a:br>
                <a:rPr lang="de-DE" sz="1133" b="0" kern="600" baseline="0">
                  <a:solidFill>
                    <a:schemeClr val="bg1"/>
                  </a:solidFill>
                </a:rPr>
              </a:br>
              <a:r>
                <a:rPr lang="de-DE" sz="1133" b="0" kern="600" baseline="0">
                  <a:solidFill>
                    <a:schemeClr val="bg1"/>
                  </a:solidFill>
                </a:rPr>
                <a:t>und wählen Sie dort das Bild aus</a:t>
              </a:r>
              <a:r>
                <a:rPr lang="de-CH" sz="1133" b="0" kern="600" baseline="0">
                  <a:solidFill>
                    <a:schemeClr val="bg1"/>
                  </a:solidFill>
                </a:rPr>
                <a:t>.</a:t>
              </a:r>
            </a:p>
            <a:p>
              <a:pPr marL="153592" indent="-153592">
                <a:buAutoNum type="arabicPeriod"/>
              </a:pPr>
              <a:r>
                <a:rPr lang="de-CH" sz="1133" b="0" kern="600" baseline="0">
                  <a:solidFill>
                    <a:schemeClr val="bg1"/>
                  </a:solidFill>
                </a:rPr>
                <a:t>Bei «Offset» können Sie das Bild verschieben. Achten Sie darauf, dass Sie das Bild nicht verziehen – Wenn bei «Oben» der Wert erhöht wird, muss der Wert bei «Unten» entsprechend verringert werden.</a:t>
              </a: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95B5EB24-2D14-43AA-88D7-7A4C16AE068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81" t="-6092" r="-2781" b="49412"/>
            <a:stretch/>
          </p:blipFill>
          <p:spPr>
            <a:xfrm flipH="1">
              <a:off x="-2445530" y="2444043"/>
              <a:ext cx="1870234" cy="2338775"/>
            </a:xfrm>
            <a:prstGeom prst="rect">
              <a:avLst/>
            </a:prstGeom>
          </p:spPr>
        </p:pic>
      </p:grp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58C1F4-CC17-4179-ABF6-E1748E66AC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3829" y="1824567"/>
            <a:ext cx="3653371" cy="4726516"/>
          </a:xfrm>
        </p:spPr>
        <p:txBody>
          <a:bodyPr tIns="0" bIns="82800" anchor="b" anchorCtr="0"/>
          <a:lstStyle>
            <a:lvl1pPr>
              <a:lnSpc>
                <a:spcPts val="2067"/>
              </a:lnSpc>
              <a:spcBef>
                <a:spcPts val="0"/>
              </a:spcBef>
              <a:defRPr sz="1533">
                <a:solidFill>
                  <a:schemeClr val="bg1"/>
                </a:solidFill>
                <a:latin typeface="+mj-lt"/>
              </a:defRPr>
            </a:lvl1pPr>
            <a:lvl2pPr marL="153592" indent="-153592">
              <a:lnSpc>
                <a:spcPts val="2067"/>
              </a:lnSpc>
              <a:spcBef>
                <a:spcPts val="0"/>
              </a:spcBef>
              <a:buClrTx/>
              <a:defRPr sz="1533">
                <a:solidFill>
                  <a:schemeClr val="bg1"/>
                </a:solidFill>
              </a:defRPr>
            </a:lvl2pPr>
            <a:lvl3pPr marL="307184" indent="-153592">
              <a:lnSpc>
                <a:spcPts val="2067"/>
              </a:lnSpc>
              <a:spcBef>
                <a:spcPts val="0"/>
              </a:spcBef>
              <a:buClrTx/>
              <a:defRPr sz="1533">
                <a:solidFill>
                  <a:schemeClr val="bg1"/>
                </a:solidFill>
              </a:defRPr>
            </a:lvl3pPr>
            <a:lvl4pPr marL="307184" indent="-307184">
              <a:lnSpc>
                <a:spcPts val="2067"/>
              </a:lnSpc>
              <a:spcBef>
                <a:spcPts val="0"/>
              </a:spcBef>
              <a:defRPr sz="1533">
                <a:solidFill>
                  <a:schemeClr val="bg1"/>
                </a:solidFill>
              </a:defRPr>
            </a:lvl4pPr>
            <a:lvl5pPr marL="614370" indent="-307184">
              <a:lnSpc>
                <a:spcPts val="2067"/>
              </a:lnSpc>
              <a:spcBef>
                <a:spcPts val="0"/>
              </a:spcBef>
              <a:defRPr sz="1533">
                <a:solidFill>
                  <a:schemeClr val="bg1"/>
                </a:solidFill>
              </a:defRPr>
            </a:lvl5pPr>
            <a:lvl6pPr>
              <a:lnSpc>
                <a:spcPts val="2067"/>
              </a:lnSpc>
              <a:spcBef>
                <a:spcPts val="1033"/>
              </a:spcBef>
              <a:defRPr sz="1533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  <a:latin typeface="+mn-lt"/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lnSpc>
                <a:spcPts val="2067"/>
              </a:lnSpc>
              <a:defRPr sz="1533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4442C26-6859-45F0-A33D-37DC8127C5E0}"/>
              </a:ext>
            </a:extLst>
          </p:cNvPr>
          <p:cNvSpPr/>
          <p:nvPr userDrawn="1"/>
        </p:nvSpPr>
        <p:spPr>
          <a:xfrm>
            <a:off x="-3552937" y="3462676"/>
            <a:ext cx="2431249" cy="264577"/>
          </a:xfrm>
          <a:prstGeom prst="rect">
            <a:avLst/>
          </a:prstGeom>
          <a:noFill/>
          <a:ln w="254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FAE64536-D154-4779-995A-5E8C7AD16E41}"/>
              </a:ext>
            </a:extLst>
          </p:cNvPr>
          <p:cNvSpPr/>
          <p:nvPr userDrawn="1"/>
        </p:nvSpPr>
        <p:spPr>
          <a:xfrm>
            <a:off x="-3552937" y="4187826"/>
            <a:ext cx="2431249" cy="539143"/>
          </a:xfrm>
          <a:prstGeom prst="rect">
            <a:avLst/>
          </a:prstGeom>
          <a:noFill/>
          <a:ln w="254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1717B0F3-34A3-4535-937C-ADBDA641D0CF}"/>
              </a:ext>
            </a:extLst>
          </p:cNvPr>
          <p:cNvSpPr txBox="1"/>
          <p:nvPr userDrawn="1"/>
        </p:nvSpPr>
        <p:spPr>
          <a:xfrm>
            <a:off x="-3840000" y="5040002"/>
            <a:ext cx="3360000" cy="1540147"/>
          </a:xfrm>
          <a:prstGeom prst="rect">
            <a:avLst/>
          </a:prstGeom>
          <a:solidFill>
            <a:schemeClr val="accent2"/>
          </a:solidFill>
        </p:spPr>
        <p:txBody>
          <a:bodyPr wrap="square" lIns="144000" tIns="72000" rIns="144000" bIns="72000" rtlCol="0">
            <a:spAutoFit/>
          </a:bodyPr>
          <a:lstStyle/>
          <a:p>
            <a:r>
              <a:rPr lang="de-DE" sz="1133" b="0" kern="600">
                <a:solidFill>
                  <a:schemeClr val="bg1"/>
                </a:solidFill>
                <a:latin typeface="+mj-lt"/>
              </a:rPr>
              <a:t>Enthaltene Textebenen:</a:t>
            </a:r>
          </a:p>
          <a:p>
            <a:r>
              <a:rPr lang="de-DE" sz="1133" b="0" kern="600">
                <a:solidFill>
                  <a:schemeClr val="bg1"/>
                </a:solidFill>
                <a:latin typeface="+mn-lt"/>
              </a:rPr>
              <a:t>Ebene</a:t>
            </a: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 1 = Titel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2 = Auflist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3 = Auflist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4 = Nummerier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5 = Nummerier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6 = Untertitel mit Abstand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7 = Legende</a:t>
            </a:r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68E93DE2-D58A-4F53-98DD-B142C1E269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13829" y="6417600"/>
            <a:ext cx="9523771" cy="240000"/>
          </a:xfrm>
        </p:spPr>
        <p:txBody>
          <a:bodyPr/>
          <a:lstStyle>
            <a:lvl1pPr algn="l">
              <a:defRPr/>
            </a:lvl1pPr>
          </a:lstStyle>
          <a:p>
            <a:pPr algn="l"/>
            <a:endParaRPr lang="de-CH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C29EB19-4D49-4D1E-9799-ACD0B603CEA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B84BE2A-AF72-474C-A580-796179F45542}" type="slidenum">
              <a:rPr lang="de-CH" smtClean="0"/>
              <a:pPr/>
              <a:t>‹Nr.›</a:t>
            </a:fld>
            <a:endParaRPr lang="de-CH" kern="600"/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3E4076A7-A842-452F-A926-9059F92CF582}"/>
              </a:ext>
            </a:extLst>
          </p:cNvPr>
          <p:cNvGrpSpPr/>
          <p:nvPr userDrawn="1"/>
        </p:nvGrpSpPr>
        <p:grpSpPr>
          <a:xfrm>
            <a:off x="10136049" y="559792"/>
            <a:ext cx="1440000" cy="404419"/>
            <a:chOff x="-5709525" y="-5645283"/>
            <a:chExt cx="19213689" cy="5396089"/>
          </a:xfrm>
        </p:grpSpPr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5B3229CB-B88D-4EF9-9411-97BE70BB67D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5709525" y="-5645283"/>
              <a:ext cx="19213689" cy="5396089"/>
            </a:xfrm>
            <a:prstGeom prst="rect">
              <a:avLst/>
            </a:prstGeom>
          </p:spPr>
        </p:pic>
        <p:sp>
          <p:nvSpPr>
            <p:cNvPr id="31" name="Freeform 26">
              <a:extLst>
                <a:ext uri="{FF2B5EF4-FFF2-40B4-BE49-F238E27FC236}">
                  <a16:creationId xmlns:a16="http://schemas.microsoft.com/office/drawing/2014/main" id="{E040B119-57F3-4FDE-86ED-4EEF7EC8D4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709525" y="-5645283"/>
              <a:ext cx="1287463" cy="1493837"/>
            </a:xfrm>
            <a:custGeom>
              <a:avLst/>
              <a:gdLst>
                <a:gd name="T0" fmla="*/ 86 w 114"/>
                <a:gd name="T1" fmla="*/ 0 h 132"/>
                <a:gd name="T2" fmla="*/ 1 w 114"/>
                <a:gd name="T3" fmla="*/ 20 h 132"/>
                <a:gd name="T4" fmla="*/ 0 w 114"/>
                <a:gd name="T5" fmla="*/ 31 h 132"/>
                <a:gd name="T6" fmla="*/ 31 w 114"/>
                <a:gd name="T7" fmla="*/ 132 h 132"/>
                <a:gd name="T8" fmla="*/ 114 w 114"/>
                <a:gd name="T9" fmla="*/ 115 h 132"/>
                <a:gd name="T10" fmla="*/ 114 w 114"/>
                <a:gd name="T11" fmla="*/ 106 h 132"/>
                <a:gd name="T12" fmla="*/ 94 w 114"/>
                <a:gd name="T13" fmla="*/ 0 h 132"/>
                <a:gd name="T14" fmla="*/ 86 w 114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32">
                  <a:moveTo>
                    <a:pt x="86" y="0"/>
                  </a:moveTo>
                  <a:cubicBezTo>
                    <a:pt x="52" y="0"/>
                    <a:pt x="25" y="8"/>
                    <a:pt x="1" y="20"/>
                  </a:cubicBezTo>
                  <a:cubicBezTo>
                    <a:pt x="1" y="23"/>
                    <a:pt x="0" y="25"/>
                    <a:pt x="0" y="31"/>
                  </a:cubicBezTo>
                  <a:cubicBezTo>
                    <a:pt x="0" y="56"/>
                    <a:pt x="18" y="102"/>
                    <a:pt x="31" y="132"/>
                  </a:cubicBezTo>
                  <a:cubicBezTo>
                    <a:pt x="56" y="132"/>
                    <a:pt x="92" y="125"/>
                    <a:pt x="114" y="115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81"/>
                    <a:pt x="113" y="24"/>
                    <a:pt x="94" y="0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sz="2400"/>
            </a:p>
          </p:txBody>
        </p:sp>
      </p:grpSp>
    </p:spTree>
    <p:extLst>
      <p:ext uri="{BB962C8B-B14F-4D97-AF65-F5344CB8AC3E}">
        <p14:creationId xmlns:p14="http://schemas.microsoft.com/office/powerpoint/2010/main" val="1235296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18">
          <p15:clr>
            <a:srgbClr val="5ACBF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1 picture and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>
            <a:extLst>
              <a:ext uri="{FF2B5EF4-FFF2-40B4-BE49-F238E27FC236}">
                <a16:creationId xmlns:a16="http://schemas.microsoft.com/office/drawing/2014/main" id="{88D3D1E1-17A4-47DC-9528-97498B70D95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1F3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34B7E63D-A795-4C5F-816D-9092579F53C0}"/>
              </a:ext>
            </a:extLst>
          </p:cNvPr>
          <p:cNvSpPr/>
          <p:nvPr userDrawn="1"/>
        </p:nvSpPr>
        <p:spPr>
          <a:xfrm>
            <a:off x="0" y="313268"/>
            <a:ext cx="12192000" cy="8974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1EDD600C-1942-4012-BB0E-5AF8E9A87AB5}"/>
              </a:ext>
            </a:extLst>
          </p:cNvPr>
          <p:cNvSpPr/>
          <p:nvPr userDrawn="1"/>
        </p:nvSpPr>
        <p:spPr>
          <a:xfrm>
            <a:off x="0" y="313268"/>
            <a:ext cx="124800" cy="8974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CEF133EA-A09F-4144-B542-D1A3A7EC592A}"/>
              </a:ext>
            </a:extLst>
          </p:cNvPr>
          <p:cNvGrpSpPr/>
          <p:nvPr userDrawn="1"/>
        </p:nvGrpSpPr>
        <p:grpSpPr>
          <a:xfrm>
            <a:off x="10136049" y="559792"/>
            <a:ext cx="1440000" cy="404419"/>
            <a:chOff x="-5709525" y="-5645283"/>
            <a:chExt cx="19213689" cy="5396089"/>
          </a:xfrm>
        </p:grpSpPr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89C49703-2429-465D-A755-0BFEE48B834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5709525" y="-5645283"/>
              <a:ext cx="19213689" cy="5396089"/>
            </a:xfrm>
            <a:prstGeom prst="rect">
              <a:avLst/>
            </a:prstGeom>
          </p:spPr>
        </p:pic>
        <p:sp>
          <p:nvSpPr>
            <p:cNvPr id="32" name="Freeform 26">
              <a:extLst>
                <a:ext uri="{FF2B5EF4-FFF2-40B4-BE49-F238E27FC236}">
                  <a16:creationId xmlns:a16="http://schemas.microsoft.com/office/drawing/2014/main" id="{8C1A89DC-EAB4-4531-857B-1B88143783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709525" y="-5645283"/>
              <a:ext cx="1287463" cy="1493837"/>
            </a:xfrm>
            <a:custGeom>
              <a:avLst/>
              <a:gdLst>
                <a:gd name="T0" fmla="*/ 86 w 114"/>
                <a:gd name="T1" fmla="*/ 0 h 132"/>
                <a:gd name="T2" fmla="*/ 1 w 114"/>
                <a:gd name="T3" fmla="*/ 20 h 132"/>
                <a:gd name="T4" fmla="*/ 0 w 114"/>
                <a:gd name="T5" fmla="*/ 31 h 132"/>
                <a:gd name="T6" fmla="*/ 31 w 114"/>
                <a:gd name="T7" fmla="*/ 132 h 132"/>
                <a:gd name="T8" fmla="*/ 114 w 114"/>
                <a:gd name="T9" fmla="*/ 115 h 132"/>
                <a:gd name="T10" fmla="*/ 114 w 114"/>
                <a:gd name="T11" fmla="*/ 106 h 132"/>
                <a:gd name="T12" fmla="*/ 94 w 114"/>
                <a:gd name="T13" fmla="*/ 0 h 132"/>
                <a:gd name="T14" fmla="*/ 86 w 114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32">
                  <a:moveTo>
                    <a:pt x="86" y="0"/>
                  </a:moveTo>
                  <a:cubicBezTo>
                    <a:pt x="52" y="0"/>
                    <a:pt x="25" y="8"/>
                    <a:pt x="1" y="20"/>
                  </a:cubicBezTo>
                  <a:cubicBezTo>
                    <a:pt x="1" y="23"/>
                    <a:pt x="0" y="25"/>
                    <a:pt x="0" y="31"/>
                  </a:cubicBezTo>
                  <a:cubicBezTo>
                    <a:pt x="0" y="56"/>
                    <a:pt x="18" y="102"/>
                    <a:pt x="31" y="132"/>
                  </a:cubicBezTo>
                  <a:cubicBezTo>
                    <a:pt x="56" y="132"/>
                    <a:pt x="92" y="125"/>
                    <a:pt x="114" y="115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81"/>
                    <a:pt x="113" y="24"/>
                    <a:pt x="94" y="0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sz="240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eingeben</a:t>
            </a:r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E3894A0-E343-4559-A922-B591527E420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613829" y="6417600"/>
            <a:ext cx="9523771" cy="240000"/>
          </a:xfrm>
        </p:spPr>
        <p:txBody>
          <a:bodyPr/>
          <a:lstStyle>
            <a:lvl1pPr algn="l">
              <a:defRPr/>
            </a:lvl1pPr>
          </a:lstStyle>
          <a:p>
            <a:pPr algn="l"/>
            <a:endParaRPr lang="de-CH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C9A4044-7C30-4E00-9972-A0866BF788B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B84BE2A-AF72-474C-A580-796179F45542}" type="slidenum">
              <a:rPr lang="de-CH" smtClean="0"/>
              <a:pPr/>
              <a:t>‹Nr.›</a:t>
            </a:fld>
            <a:endParaRPr lang="de-CH" kern="600"/>
          </a:p>
        </p:txBody>
      </p:sp>
      <p:sp>
        <p:nvSpPr>
          <p:cNvPr id="15" name="Bildplatzhalter 6">
            <a:extLst>
              <a:ext uri="{FF2B5EF4-FFF2-40B4-BE49-F238E27FC236}">
                <a16:creationId xmlns:a16="http://schemas.microsoft.com/office/drawing/2014/main" id="{06BF718F-FC5B-4EDB-A31B-2EA0B91ED11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13831" y="1824563"/>
            <a:ext cx="5327655" cy="4417488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ts val="2067"/>
              </a:lnSpc>
              <a:spcBef>
                <a:spcPts val="0"/>
              </a:spcBef>
              <a:defRPr sz="1533" baseline="0">
                <a:latin typeface="+mj-lt"/>
              </a:defRPr>
            </a:lvl1pPr>
          </a:lstStyle>
          <a:p>
            <a:r>
              <a:rPr lang="de-CH"/>
              <a:t>Klicken Sie auf das Bild-Symbol in der Mitte um ein Bild hier zu platzier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5B907AE-511B-4F88-A82E-69DDFCDDF87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48398" y="1824563"/>
            <a:ext cx="5327655" cy="4417488"/>
          </a:xfrm>
        </p:spPr>
        <p:txBody>
          <a:bodyPr/>
          <a:lstStyle>
            <a:lvl5pPr>
              <a:defRPr/>
            </a:lvl5pPr>
            <a:lvl8pPr>
              <a:defRPr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4F1436F-238E-4485-BE86-198820D03222}"/>
              </a:ext>
            </a:extLst>
          </p:cNvPr>
          <p:cNvSpPr txBox="1"/>
          <p:nvPr userDrawn="1"/>
        </p:nvSpPr>
        <p:spPr>
          <a:xfrm>
            <a:off x="-3840000" y="4171202"/>
            <a:ext cx="3360000" cy="1714490"/>
          </a:xfrm>
          <a:prstGeom prst="rect">
            <a:avLst/>
          </a:prstGeom>
          <a:solidFill>
            <a:schemeClr val="accent2"/>
          </a:solidFill>
        </p:spPr>
        <p:txBody>
          <a:bodyPr wrap="square" lIns="144000" tIns="72000" rIns="144000" bIns="72000" rtlCol="0">
            <a:spAutoFit/>
          </a:bodyPr>
          <a:lstStyle/>
          <a:p>
            <a:r>
              <a:rPr lang="de-DE" sz="1133" b="0" kern="600">
                <a:solidFill>
                  <a:schemeClr val="bg1"/>
                </a:solidFill>
                <a:latin typeface="+mj-lt"/>
              </a:rPr>
              <a:t>Enthaltene Textebenen:</a:t>
            </a:r>
          </a:p>
          <a:p>
            <a:r>
              <a:rPr lang="de-DE" sz="1133" b="0" kern="600">
                <a:solidFill>
                  <a:schemeClr val="bg1"/>
                </a:solidFill>
                <a:latin typeface="+mn-lt"/>
              </a:rPr>
              <a:t>Ebene</a:t>
            </a: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 1 = Normaler Tex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2 = Auflist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3 = Auflist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4 = Nummerier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5 = Nummerier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6 = Untertitel mit Abstand</a:t>
            </a:r>
          </a:p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7 = Kleiner Text, fett (Legenden-Titel)</a:t>
            </a:r>
            <a:endParaRPr lang="de-CH" sz="1133" b="0" kern="600">
              <a:solidFill>
                <a:schemeClr val="bg1"/>
              </a:solidFill>
              <a:latin typeface="+mn-lt"/>
            </a:endParaRP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8 = Kleiner Text (Legenden)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90353422-C43D-45C6-9416-1431DEE1F232}"/>
              </a:ext>
            </a:extLst>
          </p:cNvPr>
          <p:cNvGrpSpPr/>
          <p:nvPr userDrawn="1"/>
        </p:nvGrpSpPr>
        <p:grpSpPr>
          <a:xfrm flipH="1">
            <a:off x="-3840000" y="313268"/>
            <a:ext cx="3360000" cy="3770250"/>
            <a:chOff x="-2880000" y="1428750"/>
            <a:chExt cx="2520000" cy="2827687"/>
          </a:xfrm>
        </p:grpSpPr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D5B29FCF-CE03-4B3A-818E-AADEFE4DFFF4}"/>
                </a:ext>
              </a:extLst>
            </p:cNvPr>
            <p:cNvSpPr txBox="1"/>
            <p:nvPr userDrawn="1"/>
          </p:nvSpPr>
          <p:spPr>
            <a:xfrm flipH="1">
              <a:off x="-2880000" y="1428750"/>
              <a:ext cx="2520000" cy="2827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108000" tIns="54000" rIns="108000" bIns="54000" rtlCol="0">
              <a:spAutoFit/>
            </a:bodyPr>
            <a:lstStyle/>
            <a:p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Bilder einfügen:</a:t>
              </a:r>
            </a:p>
            <a:p>
              <a:pPr marL="153592" indent="-153592">
                <a:buAutoNum type="arabicPeriod"/>
              </a:pPr>
              <a:r>
                <a:rPr lang="de-DE" sz="1133" b="0" kern="600" baseline="0">
                  <a:solidFill>
                    <a:schemeClr val="bg1"/>
                  </a:solidFill>
                </a:rPr>
                <a:t>Löschen Sie das ggf. bereits vorhandene Bild</a:t>
              </a:r>
            </a:p>
            <a:p>
              <a:pPr marL="153592" indent="-153592">
                <a:buAutoNum type="arabicPeriod"/>
              </a:pPr>
              <a:r>
                <a:rPr lang="de-DE" sz="1133" b="0" kern="600" baseline="0">
                  <a:solidFill>
                    <a:schemeClr val="bg1"/>
                  </a:solidFill>
                </a:rPr>
                <a:t>Klicken Sie auf das Bild-Symbol in der Mitte </a:t>
              </a:r>
              <a:br>
                <a:rPr lang="de-DE" sz="1133" b="0" kern="600" baseline="0">
                  <a:solidFill>
                    <a:schemeClr val="bg1"/>
                  </a:solidFill>
                </a:rPr>
              </a:br>
              <a:r>
                <a:rPr lang="de-DE" sz="1133" b="0" kern="600" baseline="0">
                  <a:solidFill>
                    <a:schemeClr val="bg1"/>
                  </a:solidFill>
                </a:rPr>
                <a:t>des Platzhalters</a:t>
              </a: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r>
                <a:rPr lang="de-DE" sz="1133" b="0" kern="600" baseline="0">
                  <a:solidFill>
                    <a:schemeClr val="bg1"/>
                  </a:solidFill>
                </a:rPr>
                <a:t>Nachdem Sie Ihr Bild platziert haben, können Sie es über »Bildtools -&gt; Zuschneiden« innerhalb der hier definierten »</a:t>
              </a:r>
              <a:r>
                <a:rPr lang="de-DE" sz="1133" b="0" kern="600" baseline="0" err="1">
                  <a:solidFill>
                    <a:schemeClr val="bg1"/>
                  </a:solidFill>
                </a:rPr>
                <a:t>Bildbox</a:t>
              </a:r>
              <a:r>
                <a:rPr lang="de-DE" sz="1133" b="0" kern="600" baseline="0">
                  <a:solidFill>
                    <a:schemeClr val="bg1"/>
                  </a:solidFill>
                </a:rPr>
                <a:t>« verschieben und/oder beschneiden. Die enthaltenen Hilfslinien helfen bei der richtigen Positionierung.</a:t>
              </a:r>
              <a:r>
                <a:rPr lang="de-CH" sz="1133" b="0" kern="600" baseline="0">
                  <a:solidFill>
                    <a:schemeClr val="bg1"/>
                  </a:solidFill>
                </a:rPr>
                <a:t> Durch Klicken auf »Einpassen« wird das Bild passend skaliert.</a:t>
              </a: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</p:txBody>
        </p:sp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AF6527C9-3662-4058-A994-1FF8CEA9A98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p:blipFill>
          <p:spPr>
            <a:xfrm flipH="1">
              <a:off x="-1589225" y="3001763"/>
              <a:ext cx="1088246" cy="114392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649165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2807">
          <p15:clr>
            <a:srgbClr val="FBAE40"/>
          </p15:clr>
        </p15:guide>
        <p15:guide id="4" pos="2952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1 shape and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>
            <a:extLst>
              <a:ext uri="{FF2B5EF4-FFF2-40B4-BE49-F238E27FC236}">
                <a16:creationId xmlns:a16="http://schemas.microsoft.com/office/drawing/2014/main" id="{88D3D1E1-17A4-47DC-9528-97498B70D95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1F3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34B7E63D-A795-4C5F-816D-9092579F53C0}"/>
              </a:ext>
            </a:extLst>
          </p:cNvPr>
          <p:cNvSpPr/>
          <p:nvPr userDrawn="1"/>
        </p:nvSpPr>
        <p:spPr>
          <a:xfrm>
            <a:off x="0" y="313268"/>
            <a:ext cx="12192000" cy="8974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1EDD600C-1942-4012-BB0E-5AF8E9A87AB5}"/>
              </a:ext>
            </a:extLst>
          </p:cNvPr>
          <p:cNvSpPr/>
          <p:nvPr userDrawn="1"/>
        </p:nvSpPr>
        <p:spPr>
          <a:xfrm>
            <a:off x="0" y="313268"/>
            <a:ext cx="124800" cy="8974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CEF133EA-A09F-4144-B542-D1A3A7EC592A}"/>
              </a:ext>
            </a:extLst>
          </p:cNvPr>
          <p:cNvGrpSpPr/>
          <p:nvPr userDrawn="1"/>
        </p:nvGrpSpPr>
        <p:grpSpPr>
          <a:xfrm>
            <a:off x="10136049" y="559792"/>
            <a:ext cx="1440000" cy="404419"/>
            <a:chOff x="-5709525" y="-5645283"/>
            <a:chExt cx="19213689" cy="5396089"/>
          </a:xfrm>
        </p:grpSpPr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89C49703-2429-465D-A755-0BFEE48B834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5709525" y="-5645283"/>
              <a:ext cx="19213689" cy="5396089"/>
            </a:xfrm>
            <a:prstGeom prst="rect">
              <a:avLst/>
            </a:prstGeom>
          </p:spPr>
        </p:pic>
        <p:sp>
          <p:nvSpPr>
            <p:cNvPr id="32" name="Freeform 26">
              <a:extLst>
                <a:ext uri="{FF2B5EF4-FFF2-40B4-BE49-F238E27FC236}">
                  <a16:creationId xmlns:a16="http://schemas.microsoft.com/office/drawing/2014/main" id="{8C1A89DC-EAB4-4531-857B-1B88143783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709525" y="-5645283"/>
              <a:ext cx="1287463" cy="1493837"/>
            </a:xfrm>
            <a:custGeom>
              <a:avLst/>
              <a:gdLst>
                <a:gd name="T0" fmla="*/ 86 w 114"/>
                <a:gd name="T1" fmla="*/ 0 h 132"/>
                <a:gd name="T2" fmla="*/ 1 w 114"/>
                <a:gd name="T3" fmla="*/ 20 h 132"/>
                <a:gd name="T4" fmla="*/ 0 w 114"/>
                <a:gd name="T5" fmla="*/ 31 h 132"/>
                <a:gd name="T6" fmla="*/ 31 w 114"/>
                <a:gd name="T7" fmla="*/ 132 h 132"/>
                <a:gd name="T8" fmla="*/ 114 w 114"/>
                <a:gd name="T9" fmla="*/ 115 h 132"/>
                <a:gd name="T10" fmla="*/ 114 w 114"/>
                <a:gd name="T11" fmla="*/ 106 h 132"/>
                <a:gd name="T12" fmla="*/ 94 w 114"/>
                <a:gd name="T13" fmla="*/ 0 h 132"/>
                <a:gd name="T14" fmla="*/ 86 w 114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32">
                  <a:moveTo>
                    <a:pt x="86" y="0"/>
                  </a:moveTo>
                  <a:cubicBezTo>
                    <a:pt x="52" y="0"/>
                    <a:pt x="25" y="8"/>
                    <a:pt x="1" y="20"/>
                  </a:cubicBezTo>
                  <a:cubicBezTo>
                    <a:pt x="1" y="23"/>
                    <a:pt x="0" y="25"/>
                    <a:pt x="0" y="31"/>
                  </a:cubicBezTo>
                  <a:cubicBezTo>
                    <a:pt x="0" y="56"/>
                    <a:pt x="18" y="102"/>
                    <a:pt x="31" y="132"/>
                  </a:cubicBezTo>
                  <a:cubicBezTo>
                    <a:pt x="56" y="132"/>
                    <a:pt x="92" y="125"/>
                    <a:pt x="114" y="115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81"/>
                    <a:pt x="113" y="24"/>
                    <a:pt x="94" y="0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sz="240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eingeben</a:t>
            </a:r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E3894A0-E343-4559-A922-B591527E420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613829" y="6417600"/>
            <a:ext cx="9523771" cy="240000"/>
          </a:xfrm>
        </p:spPr>
        <p:txBody>
          <a:bodyPr/>
          <a:lstStyle>
            <a:lvl1pPr algn="l">
              <a:defRPr/>
            </a:lvl1pPr>
          </a:lstStyle>
          <a:p>
            <a:pPr algn="l"/>
            <a:endParaRPr lang="de-CH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C9A4044-7C30-4E00-9972-A0866BF788B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B84BE2A-AF72-474C-A580-796179F45542}" type="slidenum">
              <a:rPr lang="de-CH" smtClean="0"/>
              <a:pPr/>
              <a:t>‹Nr.›</a:t>
            </a:fld>
            <a:endParaRPr lang="de-CH" kern="600"/>
          </a:p>
        </p:txBody>
      </p:sp>
      <p:sp>
        <p:nvSpPr>
          <p:cNvPr id="15" name="Bildplatzhalter 6">
            <a:extLst>
              <a:ext uri="{FF2B5EF4-FFF2-40B4-BE49-F238E27FC236}">
                <a16:creationId xmlns:a16="http://schemas.microsoft.com/office/drawing/2014/main" id="{06BF718F-FC5B-4EDB-A31B-2EA0B91ED11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619433" y="1816247"/>
            <a:ext cx="3845987" cy="4440276"/>
          </a:xfrm>
          <a:custGeom>
            <a:avLst/>
            <a:gdLst>
              <a:gd name="connsiteX0" fmla="*/ 0 w 3995741"/>
              <a:gd name="connsiteY0" fmla="*/ 0 h 3313116"/>
              <a:gd name="connsiteX1" fmla="*/ 3995741 w 3995741"/>
              <a:gd name="connsiteY1" fmla="*/ 0 h 3313116"/>
              <a:gd name="connsiteX2" fmla="*/ 3995741 w 3995741"/>
              <a:gd name="connsiteY2" fmla="*/ 3313116 h 3313116"/>
              <a:gd name="connsiteX3" fmla="*/ 0 w 3995741"/>
              <a:gd name="connsiteY3" fmla="*/ 3313116 h 3313116"/>
              <a:gd name="connsiteX4" fmla="*/ 0 w 3995741"/>
              <a:gd name="connsiteY4" fmla="*/ 0 h 3313116"/>
              <a:gd name="connsiteX0" fmla="*/ 24421 w 3995741"/>
              <a:gd name="connsiteY0" fmla="*/ 504684 h 3313116"/>
              <a:gd name="connsiteX1" fmla="*/ 3995741 w 3995741"/>
              <a:gd name="connsiteY1" fmla="*/ 0 h 3313116"/>
              <a:gd name="connsiteX2" fmla="*/ 3995741 w 3995741"/>
              <a:gd name="connsiteY2" fmla="*/ 3313116 h 3313116"/>
              <a:gd name="connsiteX3" fmla="*/ 0 w 3995741"/>
              <a:gd name="connsiteY3" fmla="*/ 3313116 h 3313116"/>
              <a:gd name="connsiteX4" fmla="*/ 24421 w 3995741"/>
              <a:gd name="connsiteY4" fmla="*/ 504684 h 3313116"/>
              <a:gd name="connsiteX0" fmla="*/ 24421 w 3995741"/>
              <a:gd name="connsiteY0" fmla="*/ 504684 h 3313116"/>
              <a:gd name="connsiteX1" fmla="*/ 2375869 w 3995741"/>
              <a:gd name="connsiteY1" fmla="*/ 0 h 3313116"/>
              <a:gd name="connsiteX2" fmla="*/ 3995741 w 3995741"/>
              <a:gd name="connsiteY2" fmla="*/ 3313116 h 3313116"/>
              <a:gd name="connsiteX3" fmla="*/ 0 w 3995741"/>
              <a:gd name="connsiteY3" fmla="*/ 3313116 h 3313116"/>
              <a:gd name="connsiteX4" fmla="*/ 24421 w 3995741"/>
              <a:gd name="connsiteY4" fmla="*/ 504684 h 3313116"/>
              <a:gd name="connsiteX0" fmla="*/ 24421 w 2888693"/>
              <a:gd name="connsiteY0" fmla="*/ 504684 h 3313116"/>
              <a:gd name="connsiteX1" fmla="*/ 2375869 w 2888693"/>
              <a:gd name="connsiteY1" fmla="*/ 0 h 3313116"/>
              <a:gd name="connsiteX2" fmla="*/ 2888693 w 2888693"/>
              <a:gd name="connsiteY2" fmla="*/ 2897973 h 3313116"/>
              <a:gd name="connsiteX3" fmla="*/ 0 w 2888693"/>
              <a:gd name="connsiteY3" fmla="*/ 3313116 h 3313116"/>
              <a:gd name="connsiteX4" fmla="*/ 24421 w 2888693"/>
              <a:gd name="connsiteY4" fmla="*/ 504684 h 3313116"/>
              <a:gd name="connsiteX0" fmla="*/ 0 w 2864272"/>
              <a:gd name="connsiteY0" fmla="*/ 504684 h 3323970"/>
              <a:gd name="connsiteX1" fmla="*/ 2351448 w 2864272"/>
              <a:gd name="connsiteY1" fmla="*/ 0 h 3323970"/>
              <a:gd name="connsiteX2" fmla="*/ 2864272 w 2864272"/>
              <a:gd name="connsiteY2" fmla="*/ 2897973 h 3323970"/>
              <a:gd name="connsiteX3" fmla="*/ 757024 w 2864272"/>
              <a:gd name="connsiteY3" fmla="*/ 3323970 h 3323970"/>
              <a:gd name="connsiteX4" fmla="*/ 0 w 2864272"/>
              <a:gd name="connsiteY4" fmla="*/ 504684 h 3323970"/>
              <a:gd name="connsiteX0" fmla="*/ 0 w 2864272"/>
              <a:gd name="connsiteY0" fmla="*/ 504684 h 3323970"/>
              <a:gd name="connsiteX1" fmla="*/ 2351448 w 2864272"/>
              <a:gd name="connsiteY1" fmla="*/ 0 h 3323970"/>
              <a:gd name="connsiteX2" fmla="*/ 2864272 w 2864272"/>
              <a:gd name="connsiteY2" fmla="*/ 2897973 h 3323970"/>
              <a:gd name="connsiteX3" fmla="*/ 757024 w 2864272"/>
              <a:gd name="connsiteY3" fmla="*/ 3323970 h 3323970"/>
              <a:gd name="connsiteX4" fmla="*/ 0 w 2864272"/>
              <a:gd name="connsiteY4" fmla="*/ 504684 h 3323970"/>
              <a:gd name="connsiteX0" fmla="*/ 0 w 2864272"/>
              <a:gd name="connsiteY0" fmla="*/ 504684 h 3323970"/>
              <a:gd name="connsiteX1" fmla="*/ 2351448 w 2864272"/>
              <a:gd name="connsiteY1" fmla="*/ 0 h 3323970"/>
              <a:gd name="connsiteX2" fmla="*/ 2864272 w 2864272"/>
              <a:gd name="connsiteY2" fmla="*/ 2897973 h 3323970"/>
              <a:gd name="connsiteX3" fmla="*/ 757024 w 2864272"/>
              <a:gd name="connsiteY3" fmla="*/ 3323970 h 3323970"/>
              <a:gd name="connsiteX4" fmla="*/ 0 w 2864272"/>
              <a:gd name="connsiteY4" fmla="*/ 504684 h 3323970"/>
              <a:gd name="connsiteX0" fmla="*/ 0 w 2864272"/>
              <a:gd name="connsiteY0" fmla="*/ 504684 h 3323970"/>
              <a:gd name="connsiteX1" fmla="*/ 2351448 w 2864272"/>
              <a:gd name="connsiteY1" fmla="*/ 0 h 3323970"/>
              <a:gd name="connsiteX2" fmla="*/ 2864272 w 2864272"/>
              <a:gd name="connsiteY2" fmla="*/ 2897973 h 3323970"/>
              <a:gd name="connsiteX3" fmla="*/ 757024 w 2864272"/>
              <a:gd name="connsiteY3" fmla="*/ 3323970 h 3323970"/>
              <a:gd name="connsiteX4" fmla="*/ 0 w 2864272"/>
              <a:gd name="connsiteY4" fmla="*/ 504684 h 3323970"/>
              <a:gd name="connsiteX0" fmla="*/ 0 w 2864272"/>
              <a:gd name="connsiteY0" fmla="*/ 504684 h 3323970"/>
              <a:gd name="connsiteX1" fmla="*/ 2351448 w 2864272"/>
              <a:gd name="connsiteY1" fmla="*/ 0 h 3323970"/>
              <a:gd name="connsiteX2" fmla="*/ 2864272 w 2864272"/>
              <a:gd name="connsiteY2" fmla="*/ 2897973 h 3323970"/>
              <a:gd name="connsiteX3" fmla="*/ 757024 w 2864272"/>
              <a:gd name="connsiteY3" fmla="*/ 3323970 h 3323970"/>
              <a:gd name="connsiteX4" fmla="*/ 0 w 2864272"/>
              <a:gd name="connsiteY4" fmla="*/ 504684 h 3323970"/>
              <a:gd name="connsiteX0" fmla="*/ 0 w 2866924"/>
              <a:gd name="connsiteY0" fmla="*/ 504684 h 3323970"/>
              <a:gd name="connsiteX1" fmla="*/ 2351448 w 2866924"/>
              <a:gd name="connsiteY1" fmla="*/ 0 h 3323970"/>
              <a:gd name="connsiteX2" fmla="*/ 2864272 w 2866924"/>
              <a:gd name="connsiteY2" fmla="*/ 2897973 h 3323970"/>
              <a:gd name="connsiteX3" fmla="*/ 757024 w 2866924"/>
              <a:gd name="connsiteY3" fmla="*/ 3323970 h 3323970"/>
              <a:gd name="connsiteX4" fmla="*/ 0 w 2866924"/>
              <a:gd name="connsiteY4" fmla="*/ 504684 h 3323970"/>
              <a:gd name="connsiteX0" fmla="*/ 0 w 2870898"/>
              <a:gd name="connsiteY0" fmla="*/ 504684 h 3323970"/>
              <a:gd name="connsiteX1" fmla="*/ 2351448 w 2870898"/>
              <a:gd name="connsiteY1" fmla="*/ 0 h 3323970"/>
              <a:gd name="connsiteX2" fmla="*/ 2864272 w 2870898"/>
              <a:gd name="connsiteY2" fmla="*/ 2897973 h 3323970"/>
              <a:gd name="connsiteX3" fmla="*/ 757024 w 2870898"/>
              <a:gd name="connsiteY3" fmla="*/ 3323970 h 3323970"/>
              <a:gd name="connsiteX4" fmla="*/ 0 w 2870898"/>
              <a:gd name="connsiteY4" fmla="*/ 504684 h 3323970"/>
              <a:gd name="connsiteX0" fmla="*/ 0 w 2864272"/>
              <a:gd name="connsiteY0" fmla="*/ 504684 h 3323970"/>
              <a:gd name="connsiteX1" fmla="*/ 2351448 w 2864272"/>
              <a:gd name="connsiteY1" fmla="*/ 0 h 3323970"/>
              <a:gd name="connsiteX2" fmla="*/ 2864272 w 2864272"/>
              <a:gd name="connsiteY2" fmla="*/ 2897973 h 3323970"/>
              <a:gd name="connsiteX3" fmla="*/ 757024 w 2864272"/>
              <a:gd name="connsiteY3" fmla="*/ 3323970 h 3323970"/>
              <a:gd name="connsiteX4" fmla="*/ 0 w 2864272"/>
              <a:gd name="connsiteY4" fmla="*/ 504684 h 3323970"/>
              <a:gd name="connsiteX0" fmla="*/ 0 w 2864272"/>
              <a:gd name="connsiteY0" fmla="*/ 508928 h 3328214"/>
              <a:gd name="connsiteX1" fmla="*/ 2351448 w 2864272"/>
              <a:gd name="connsiteY1" fmla="*/ 4244 h 3328214"/>
              <a:gd name="connsiteX2" fmla="*/ 2864272 w 2864272"/>
              <a:gd name="connsiteY2" fmla="*/ 2902217 h 3328214"/>
              <a:gd name="connsiteX3" fmla="*/ 757024 w 2864272"/>
              <a:gd name="connsiteY3" fmla="*/ 3328214 h 3328214"/>
              <a:gd name="connsiteX4" fmla="*/ 0 w 2864272"/>
              <a:gd name="connsiteY4" fmla="*/ 508928 h 3328214"/>
              <a:gd name="connsiteX0" fmla="*/ 0 w 2864272"/>
              <a:gd name="connsiteY0" fmla="*/ 511596 h 3330882"/>
              <a:gd name="connsiteX1" fmla="*/ 2351448 w 2864272"/>
              <a:gd name="connsiteY1" fmla="*/ 6912 h 3330882"/>
              <a:gd name="connsiteX2" fmla="*/ 2864272 w 2864272"/>
              <a:gd name="connsiteY2" fmla="*/ 2904885 h 3330882"/>
              <a:gd name="connsiteX3" fmla="*/ 757024 w 2864272"/>
              <a:gd name="connsiteY3" fmla="*/ 3330882 h 3330882"/>
              <a:gd name="connsiteX4" fmla="*/ 0 w 2864272"/>
              <a:gd name="connsiteY4" fmla="*/ 511596 h 3330882"/>
              <a:gd name="connsiteX0" fmla="*/ 0 w 2864272"/>
              <a:gd name="connsiteY0" fmla="*/ 510972 h 3330258"/>
              <a:gd name="connsiteX1" fmla="*/ 2351448 w 2864272"/>
              <a:gd name="connsiteY1" fmla="*/ 6288 h 3330258"/>
              <a:gd name="connsiteX2" fmla="*/ 2864272 w 2864272"/>
              <a:gd name="connsiteY2" fmla="*/ 2904261 h 3330258"/>
              <a:gd name="connsiteX3" fmla="*/ 757024 w 2864272"/>
              <a:gd name="connsiteY3" fmla="*/ 3330258 h 3330258"/>
              <a:gd name="connsiteX4" fmla="*/ 0 w 2864272"/>
              <a:gd name="connsiteY4" fmla="*/ 510972 h 3330258"/>
              <a:gd name="connsiteX0" fmla="*/ 0 w 2864272"/>
              <a:gd name="connsiteY0" fmla="*/ 509782 h 3329068"/>
              <a:gd name="connsiteX1" fmla="*/ 2351448 w 2864272"/>
              <a:gd name="connsiteY1" fmla="*/ 5098 h 3329068"/>
              <a:gd name="connsiteX2" fmla="*/ 2864272 w 2864272"/>
              <a:gd name="connsiteY2" fmla="*/ 2903071 h 3329068"/>
              <a:gd name="connsiteX3" fmla="*/ 757024 w 2864272"/>
              <a:gd name="connsiteY3" fmla="*/ 3329068 h 3329068"/>
              <a:gd name="connsiteX4" fmla="*/ 0 w 2864272"/>
              <a:gd name="connsiteY4" fmla="*/ 509782 h 3329068"/>
              <a:gd name="connsiteX0" fmla="*/ 0 w 2864272"/>
              <a:gd name="connsiteY0" fmla="*/ 510921 h 3330207"/>
              <a:gd name="connsiteX1" fmla="*/ 2351448 w 2864272"/>
              <a:gd name="connsiteY1" fmla="*/ 6237 h 3330207"/>
              <a:gd name="connsiteX2" fmla="*/ 2864272 w 2864272"/>
              <a:gd name="connsiteY2" fmla="*/ 2904210 h 3330207"/>
              <a:gd name="connsiteX3" fmla="*/ 757024 w 2864272"/>
              <a:gd name="connsiteY3" fmla="*/ 3330207 h 3330207"/>
              <a:gd name="connsiteX4" fmla="*/ 0 w 2864272"/>
              <a:gd name="connsiteY4" fmla="*/ 510921 h 3330207"/>
              <a:gd name="connsiteX0" fmla="*/ 5541 w 2869813"/>
              <a:gd name="connsiteY0" fmla="*/ 510921 h 3330207"/>
              <a:gd name="connsiteX1" fmla="*/ 2356989 w 2869813"/>
              <a:gd name="connsiteY1" fmla="*/ 6237 h 3330207"/>
              <a:gd name="connsiteX2" fmla="*/ 2869813 w 2869813"/>
              <a:gd name="connsiteY2" fmla="*/ 2904210 h 3330207"/>
              <a:gd name="connsiteX3" fmla="*/ 762565 w 2869813"/>
              <a:gd name="connsiteY3" fmla="*/ 3330207 h 3330207"/>
              <a:gd name="connsiteX4" fmla="*/ 5541 w 2869813"/>
              <a:gd name="connsiteY4" fmla="*/ 510921 h 3330207"/>
              <a:gd name="connsiteX0" fmla="*/ 20218 w 2884490"/>
              <a:gd name="connsiteY0" fmla="*/ 510921 h 3330207"/>
              <a:gd name="connsiteX1" fmla="*/ 2371666 w 2884490"/>
              <a:gd name="connsiteY1" fmla="*/ 6237 h 3330207"/>
              <a:gd name="connsiteX2" fmla="*/ 2884490 w 2884490"/>
              <a:gd name="connsiteY2" fmla="*/ 2904210 h 3330207"/>
              <a:gd name="connsiteX3" fmla="*/ 777242 w 2884490"/>
              <a:gd name="connsiteY3" fmla="*/ 3330207 h 3330207"/>
              <a:gd name="connsiteX4" fmla="*/ 20218 w 2884490"/>
              <a:gd name="connsiteY4" fmla="*/ 510921 h 3330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4490" h="3330207">
                <a:moveTo>
                  <a:pt x="20218" y="510921"/>
                </a:moveTo>
                <a:cubicBezTo>
                  <a:pt x="787754" y="122912"/>
                  <a:pt x="1658398" y="-34464"/>
                  <a:pt x="2371666" y="6237"/>
                </a:cubicBezTo>
                <a:cubicBezTo>
                  <a:pt x="2803089" y="529952"/>
                  <a:pt x="2884490" y="1734718"/>
                  <a:pt x="2884490" y="2904210"/>
                </a:cubicBezTo>
                <a:cubicBezTo>
                  <a:pt x="2366582" y="3097762"/>
                  <a:pt x="1845961" y="3294029"/>
                  <a:pt x="777242" y="3330207"/>
                </a:cubicBezTo>
                <a:cubicBezTo>
                  <a:pt x="20218" y="1527599"/>
                  <a:pt x="-47616" y="940573"/>
                  <a:pt x="20218" y="510921"/>
                </a:cubicBezTo>
                <a:close/>
              </a:path>
            </a:pathLst>
          </a:custGeom>
        </p:spPr>
        <p:txBody>
          <a:bodyPr anchor="ctr" anchorCtr="0"/>
          <a:lstStyle>
            <a:lvl1pPr algn="ctr">
              <a:lnSpc>
                <a:spcPts val="2067"/>
              </a:lnSpc>
              <a:spcBef>
                <a:spcPts val="0"/>
              </a:spcBef>
              <a:defRPr sz="1533" baseline="0">
                <a:latin typeface="+mj-lt"/>
              </a:defRPr>
            </a:lvl1pPr>
          </a:lstStyle>
          <a:p>
            <a:r>
              <a:rPr lang="de-CH"/>
              <a:t>Klicken Sie auf das Bild-Symbol in der Mitte um ein Bild hier zu platzier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5B907AE-511B-4F88-A82E-69DDFCDDF87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81551" y="1824563"/>
            <a:ext cx="6794500" cy="4417488"/>
          </a:xfrm>
        </p:spPr>
        <p:txBody>
          <a:bodyPr/>
          <a:lstStyle>
            <a:lvl5pPr>
              <a:defRPr/>
            </a:lvl5pPr>
            <a:lvl8pPr>
              <a:defRPr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4F1436F-238E-4485-BE86-198820D03222}"/>
              </a:ext>
            </a:extLst>
          </p:cNvPr>
          <p:cNvSpPr txBox="1"/>
          <p:nvPr userDrawn="1"/>
        </p:nvSpPr>
        <p:spPr>
          <a:xfrm>
            <a:off x="-3840000" y="4171202"/>
            <a:ext cx="3360000" cy="1714490"/>
          </a:xfrm>
          <a:prstGeom prst="rect">
            <a:avLst/>
          </a:prstGeom>
          <a:solidFill>
            <a:schemeClr val="accent2"/>
          </a:solidFill>
        </p:spPr>
        <p:txBody>
          <a:bodyPr wrap="square" lIns="144000" tIns="72000" rIns="144000" bIns="72000" rtlCol="0">
            <a:spAutoFit/>
          </a:bodyPr>
          <a:lstStyle/>
          <a:p>
            <a:r>
              <a:rPr lang="de-DE" sz="1133" b="0" kern="600">
                <a:solidFill>
                  <a:schemeClr val="bg1"/>
                </a:solidFill>
                <a:latin typeface="+mj-lt"/>
              </a:rPr>
              <a:t>Enthaltene Textebenen:</a:t>
            </a:r>
          </a:p>
          <a:p>
            <a:r>
              <a:rPr lang="de-DE" sz="1133" b="0" kern="600">
                <a:solidFill>
                  <a:schemeClr val="bg1"/>
                </a:solidFill>
                <a:latin typeface="+mn-lt"/>
              </a:rPr>
              <a:t>Ebene</a:t>
            </a: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 1 = Normaler Tex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2 = Auflist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3 = Auflist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4 = Nummerier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5 = Nummerier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6 = Untertitel mit Abstand</a:t>
            </a:r>
          </a:p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7 = Kleiner Text, fett (Legenden-Titel)</a:t>
            </a:r>
            <a:endParaRPr lang="de-CH" sz="1133" b="0" kern="600">
              <a:solidFill>
                <a:schemeClr val="bg1"/>
              </a:solidFill>
              <a:latin typeface="+mn-lt"/>
            </a:endParaRP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8 = Kleiner Text (Legenden)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90353422-C43D-45C6-9416-1431DEE1F232}"/>
              </a:ext>
            </a:extLst>
          </p:cNvPr>
          <p:cNvGrpSpPr/>
          <p:nvPr userDrawn="1"/>
        </p:nvGrpSpPr>
        <p:grpSpPr>
          <a:xfrm flipH="1">
            <a:off x="-3840000" y="313268"/>
            <a:ext cx="3360000" cy="3770250"/>
            <a:chOff x="-2880000" y="1428750"/>
            <a:chExt cx="2520000" cy="2827687"/>
          </a:xfrm>
        </p:grpSpPr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D5B29FCF-CE03-4B3A-818E-AADEFE4DFFF4}"/>
                </a:ext>
              </a:extLst>
            </p:cNvPr>
            <p:cNvSpPr txBox="1"/>
            <p:nvPr userDrawn="1"/>
          </p:nvSpPr>
          <p:spPr>
            <a:xfrm flipH="1">
              <a:off x="-2880000" y="1428750"/>
              <a:ext cx="2520000" cy="2827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108000" tIns="54000" rIns="108000" bIns="54000" rtlCol="0">
              <a:spAutoFit/>
            </a:bodyPr>
            <a:lstStyle/>
            <a:p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Bilder einfügen:</a:t>
              </a:r>
            </a:p>
            <a:p>
              <a:pPr marL="153592" indent="-153592">
                <a:buAutoNum type="arabicPeriod"/>
              </a:pPr>
              <a:r>
                <a:rPr lang="de-DE" sz="1133" b="0" kern="600" baseline="0">
                  <a:solidFill>
                    <a:schemeClr val="bg1"/>
                  </a:solidFill>
                </a:rPr>
                <a:t>Löschen Sie das ggf. bereits vorhandene Bild</a:t>
              </a:r>
            </a:p>
            <a:p>
              <a:pPr marL="153592" indent="-153592">
                <a:buAutoNum type="arabicPeriod"/>
              </a:pPr>
              <a:r>
                <a:rPr lang="de-DE" sz="1133" b="0" kern="600" baseline="0">
                  <a:solidFill>
                    <a:schemeClr val="bg1"/>
                  </a:solidFill>
                </a:rPr>
                <a:t>Klicken Sie auf das Bild-Symbol in der Mitte </a:t>
              </a:r>
              <a:br>
                <a:rPr lang="de-DE" sz="1133" b="0" kern="600" baseline="0">
                  <a:solidFill>
                    <a:schemeClr val="bg1"/>
                  </a:solidFill>
                </a:rPr>
              </a:br>
              <a:r>
                <a:rPr lang="de-DE" sz="1133" b="0" kern="600" baseline="0">
                  <a:solidFill>
                    <a:schemeClr val="bg1"/>
                  </a:solidFill>
                </a:rPr>
                <a:t>des Platzhalters</a:t>
              </a: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r>
                <a:rPr lang="de-DE" sz="1133" b="0" kern="600" baseline="0">
                  <a:solidFill>
                    <a:schemeClr val="bg1"/>
                  </a:solidFill>
                </a:rPr>
                <a:t>Nachdem Sie Ihr Bild platziert haben, können Sie es über »Bildtools -&gt; Zuschneiden« innerhalb der hier definierten »</a:t>
              </a:r>
              <a:r>
                <a:rPr lang="de-DE" sz="1133" b="0" kern="600" baseline="0" err="1">
                  <a:solidFill>
                    <a:schemeClr val="bg1"/>
                  </a:solidFill>
                </a:rPr>
                <a:t>Bildbox</a:t>
              </a:r>
              <a:r>
                <a:rPr lang="de-DE" sz="1133" b="0" kern="600" baseline="0">
                  <a:solidFill>
                    <a:schemeClr val="bg1"/>
                  </a:solidFill>
                </a:rPr>
                <a:t>« verschieben und/oder beschneiden. Die enthaltenen Hilfslinien helfen bei der richtigen Positionierung.</a:t>
              </a:r>
              <a:r>
                <a:rPr lang="de-CH" sz="1133" b="0" kern="600" baseline="0">
                  <a:solidFill>
                    <a:schemeClr val="bg1"/>
                  </a:solidFill>
                </a:rPr>
                <a:t> Durch Klicken auf »Einpassen« wird das Bild passend skaliert.</a:t>
              </a: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</p:txBody>
        </p:sp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AF6527C9-3662-4058-A994-1FF8CEA9A98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p:blipFill>
          <p:spPr>
            <a:xfrm flipH="1">
              <a:off x="-1589225" y="3001763"/>
              <a:ext cx="1088246" cy="114392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1133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2259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1 picture and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>
            <a:extLst>
              <a:ext uri="{FF2B5EF4-FFF2-40B4-BE49-F238E27FC236}">
                <a16:creationId xmlns:a16="http://schemas.microsoft.com/office/drawing/2014/main" id="{43EC237B-E88E-4FE5-BD57-9961FCFFFBF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1F3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ACA4B8EC-461A-4C07-A51F-7E60E14F5EA0}"/>
              </a:ext>
            </a:extLst>
          </p:cNvPr>
          <p:cNvSpPr/>
          <p:nvPr userDrawn="1"/>
        </p:nvSpPr>
        <p:spPr>
          <a:xfrm>
            <a:off x="0" y="313268"/>
            <a:ext cx="12192000" cy="8974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E4332158-D822-4D14-BD2A-5F6CE8BB2412}"/>
              </a:ext>
            </a:extLst>
          </p:cNvPr>
          <p:cNvSpPr/>
          <p:nvPr userDrawn="1"/>
        </p:nvSpPr>
        <p:spPr>
          <a:xfrm>
            <a:off x="0" y="313268"/>
            <a:ext cx="124800" cy="8974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50B1973B-7250-4E54-8EB2-F94573222A74}"/>
              </a:ext>
            </a:extLst>
          </p:cNvPr>
          <p:cNvGrpSpPr/>
          <p:nvPr userDrawn="1"/>
        </p:nvGrpSpPr>
        <p:grpSpPr>
          <a:xfrm>
            <a:off x="10136049" y="559792"/>
            <a:ext cx="1440000" cy="404419"/>
            <a:chOff x="-5709525" y="-5645283"/>
            <a:chExt cx="19213689" cy="5396089"/>
          </a:xfrm>
        </p:grpSpPr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B1542C2E-7059-4E3F-9965-C105A4F349C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5709525" y="-5645283"/>
              <a:ext cx="19213689" cy="5396089"/>
            </a:xfrm>
            <a:prstGeom prst="rect">
              <a:avLst/>
            </a:prstGeom>
          </p:spPr>
        </p:pic>
        <p:sp>
          <p:nvSpPr>
            <p:cNvPr id="32" name="Freeform 26">
              <a:extLst>
                <a:ext uri="{FF2B5EF4-FFF2-40B4-BE49-F238E27FC236}">
                  <a16:creationId xmlns:a16="http://schemas.microsoft.com/office/drawing/2014/main" id="{A3711BF2-A19C-4508-A7B9-EB1A1A330D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709525" y="-5645283"/>
              <a:ext cx="1287463" cy="1493837"/>
            </a:xfrm>
            <a:custGeom>
              <a:avLst/>
              <a:gdLst>
                <a:gd name="T0" fmla="*/ 86 w 114"/>
                <a:gd name="T1" fmla="*/ 0 h 132"/>
                <a:gd name="T2" fmla="*/ 1 w 114"/>
                <a:gd name="T3" fmla="*/ 20 h 132"/>
                <a:gd name="T4" fmla="*/ 0 w 114"/>
                <a:gd name="T5" fmla="*/ 31 h 132"/>
                <a:gd name="T6" fmla="*/ 31 w 114"/>
                <a:gd name="T7" fmla="*/ 132 h 132"/>
                <a:gd name="T8" fmla="*/ 114 w 114"/>
                <a:gd name="T9" fmla="*/ 115 h 132"/>
                <a:gd name="T10" fmla="*/ 114 w 114"/>
                <a:gd name="T11" fmla="*/ 106 h 132"/>
                <a:gd name="T12" fmla="*/ 94 w 114"/>
                <a:gd name="T13" fmla="*/ 0 h 132"/>
                <a:gd name="T14" fmla="*/ 86 w 114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32">
                  <a:moveTo>
                    <a:pt x="86" y="0"/>
                  </a:moveTo>
                  <a:cubicBezTo>
                    <a:pt x="52" y="0"/>
                    <a:pt x="25" y="8"/>
                    <a:pt x="1" y="20"/>
                  </a:cubicBezTo>
                  <a:cubicBezTo>
                    <a:pt x="1" y="23"/>
                    <a:pt x="0" y="25"/>
                    <a:pt x="0" y="31"/>
                  </a:cubicBezTo>
                  <a:cubicBezTo>
                    <a:pt x="0" y="56"/>
                    <a:pt x="18" y="102"/>
                    <a:pt x="31" y="132"/>
                  </a:cubicBezTo>
                  <a:cubicBezTo>
                    <a:pt x="56" y="132"/>
                    <a:pt x="92" y="125"/>
                    <a:pt x="114" y="115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81"/>
                    <a:pt x="113" y="24"/>
                    <a:pt x="94" y="0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sz="240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eingeben</a:t>
            </a:r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8486A62-8E09-4568-936F-59199FC6D1B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613836" y="6417600"/>
            <a:ext cx="9523765" cy="240000"/>
          </a:xfrm>
        </p:spPr>
        <p:txBody>
          <a:bodyPr/>
          <a:lstStyle>
            <a:lvl1pPr algn="l">
              <a:defRPr/>
            </a:lvl1pPr>
          </a:lstStyle>
          <a:p>
            <a:pPr algn="l"/>
            <a:endParaRPr lang="de-CH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2404CB0-61AA-4EEA-80F8-CFF91A4646C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B84BE2A-AF72-474C-A580-796179F45542}" type="slidenum">
              <a:rPr lang="de-CH" smtClean="0"/>
              <a:pPr/>
              <a:t>‹Nr.›</a:t>
            </a:fld>
            <a:endParaRPr lang="de-CH" kern="60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CCD68D62-2F79-4667-9D7D-08EC58AC9EE0}"/>
              </a:ext>
            </a:extLst>
          </p:cNvPr>
          <p:cNvSpPr txBox="1"/>
          <p:nvPr userDrawn="1"/>
        </p:nvSpPr>
        <p:spPr>
          <a:xfrm>
            <a:off x="-3840000" y="4171202"/>
            <a:ext cx="3360000" cy="1714490"/>
          </a:xfrm>
          <a:prstGeom prst="rect">
            <a:avLst/>
          </a:prstGeom>
          <a:solidFill>
            <a:schemeClr val="accent2"/>
          </a:solidFill>
        </p:spPr>
        <p:txBody>
          <a:bodyPr wrap="square" lIns="144000" tIns="72000" rIns="144000" bIns="72000" rtlCol="0">
            <a:spAutoFit/>
          </a:bodyPr>
          <a:lstStyle/>
          <a:p>
            <a:r>
              <a:rPr lang="de-DE" sz="1133" b="0" kern="600">
                <a:solidFill>
                  <a:schemeClr val="bg1"/>
                </a:solidFill>
                <a:latin typeface="+mj-lt"/>
              </a:rPr>
              <a:t>Enthaltene Textebenen:</a:t>
            </a:r>
          </a:p>
          <a:p>
            <a:r>
              <a:rPr lang="de-DE" sz="1133" b="0" kern="600">
                <a:solidFill>
                  <a:schemeClr val="bg1"/>
                </a:solidFill>
                <a:latin typeface="+mn-lt"/>
              </a:rPr>
              <a:t>Ebene</a:t>
            </a: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 1 = Normaler Tex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2 = Auflist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3 = Auflist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4 = Nummerier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5 = Nummerier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6 = Untertitel mit Abstand</a:t>
            </a:r>
          </a:p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7 = Kleiner Text, fett (Legenden-Titel)</a:t>
            </a:r>
            <a:endParaRPr lang="de-CH" sz="1133" b="0" kern="600">
              <a:solidFill>
                <a:schemeClr val="bg1"/>
              </a:solidFill>
              <a:latin typeface="+mn-lt"/>
            </a:endParaRP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8 = Kleiner Text (Legenden)</a:t>
            </a:r>
          </a:p>
        </p:txBody>
      </p:sp>
      <p:sp>
        <p:nvSpPr>
          <p:cNvPr id="23" name="Bildplatzhalter 6">
            <a:extLst>
              <a:ext uri="{FF2B5EF4-FFF2-40B4-BE49-F238E27FC236}">
                <a16:creationId xmlns:a16="http://schemas.microsoft.com/office/drawing/2014/main" id="{F2D128BF-FCAC-416E-B799-ECDFF370978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248398" y="1824563"/>
            <a:ext cx="5327655" cy="4417488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ts val="2067"/>
              </a:lnSpc>
              <a:spcBef>
                <a:spcPts val="0"/>
              </a:spcBef>
              <a:defRPr sz="1533" baseline="0">
                <a:latin typeface="+mj-lt"/>
              </a:defRPr>
            </a:lvl1pPr>
          </a:lstStyle>
          <a:p>
            <a:r>
              <a:rPr lang="de-CH"/>
              <a:t>Klicken Sie auf das Bild-Symbol in der Mitte um ein Bild hier zu platzieren</a:t>
            </a:r>
          </a:p>
        </p:txBody>
      </p:sp>
      <p:sp>
        <p:nvSpPr>
          <p:cNvPr id="24" name="Textplatzhalter 10">
            <a:extLst>
              <a:ext uri="{FF2B5EF4-FFF2-40B4-BE49-F238E27FC236}">
                <a16:creationId xmlns:a16="http://schemas.microsoft.com/office/drawing/2014/main" id="{31324497-E7BC-4D2B-8081-EE46EACC4B6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13837" y="1824563"/>
            <a:ext cx="5327655" cy="4417488"/>
          </a:xfrm>
        </p:spPr>
        <p:txBody>
          <a:bodyPr/>
          <a:lstStyle>
            <a:lvl5pPr>
              <a:defRPr/>
            </a:lvl5pPr>
            <a:lvl8pPr>
              <a:defRPr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A8235AFC-60A4-42CE-AE8E-C71A806BF5AF}"/>
              </a:ext>
            </a:extLst>
          </p:cNvPr>
          <p:cNvGrpSpPr/>
          <p:nvPr userDrawn="1"/>
        </p:nvGrpSpPr>
        <p:grpSpPr>
          <a:xfrm flipH="1">
            <a:off x="-3840000" y="313268"/>
            <a:ext cx="3360000" cy="3770250"/>
            <a:chOff x="-2880000" y="1428750"/>
            <a:chExt cx="2520000" cy="2827687"/>
          </a:xfrm>
        </p:grpSpPr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E91EF629-F7BD-4E04-A32A-5DBDF0FC537A}"/>
                </a:ext>
              </a:extLst>
            </p:cNvPr>
            <p:cNvSpPr txBox="1"/>
            <p:nvPr userDrawn="1"/>
          </p:nvSpPr>
          <p:spPr>
            <a:xfrm flipH="1">
              <a:off x="-2880000" y="1428750"/>
              <a:ext cx="2520000" cy="2827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108000" tIns="54000" rIns="108000" bIns="54000" rtlCol="0">
              <a:spAutoFit/>
            </a:bodyPr>
            <a:lstStyle/>
            <a:p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Bilder einfügen:</a:t>
              </a:r>
            </a:p>
            <a:p>
              <a:pPr marL="153592" indent="-153592">
                <a:buAutoNum type="arabicPeriod"/>
              </a:pPr>
              <a:r>
                <a:rPr lang="de-DE" sz="1133" b="0" kern="600" baseline="0">
                  <a:solidFill>
                    <a:schemeClr val="bg1"/>
                  </a:solidFill>
                </a:rPr>
                <a:t>Löschen Sie das ggf. bereits vorhandene Bild</a:t>
              </a:r>
            </a:p>
            <a:p>
              <a:pPr marL="153592" indent="-153592">
                <a:buAutoNum type="arabicPeriod"/>
              </a:pPr>
              <a:r>
                <a:rPr lang="de-DE" sz="1133" b="0" kern="600" baseline="0">
                  <a:solidFill>
                    <a:schemeClr val="bg1"/>
                  </a:solidFill>
                </a:rPr>
                <a:t>Klicken Sie auf das Bild-Symbol in der Mitte </a:t>
              </a:r>
              <a:br>
                <a:rPr lang="de-DE" sz="1133" b="0" kern="600" baseline="0">
                  <a:solidFill>
                    <a:schemeClr val="bg1"/>
                  </a:solidFill>
                </a:rPr>
              </a:br>
              <a:r>
                <a:rPr lang="de-DE" sz="1133" b="0" kern="600" baseline="0">
                  <a:solidFill>
                    <a:schemeClr val="bg1"/>
                  </a:solidFill>
                </a:rPr>
                <a:t>des Platzhalters</a:t>
              </a: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r>
                <a:rPr lang="de-DE" sz="1133" b="0" kern="600" baseline="0">
                  <a:solidFill>
                    <a:schemeClr val="bg1"/>
                  </a:solidFill>
                </a:rPr>
                <a:t>Nachdem Sie Ihr Bild platziert haben, können Sie es über »Bildtools -&gt; Zuschneiden« innerhalb der hier definierten »</a:t>
              </a:r>
              <a:r>
                <a:rPr lang="de-DE" sz="1133" b="0" kern="600" baseline="0" err="1">
                  <a:solidFill>
                    <a:schemeClr val="bg1"/>
                  </a:solidFill>
                </a:rPr>
                <a:t>Bildbox</a:t>
              </a:r>
              <a:r>
                <a:rPr lang="de-DE" sz="1133" b="0" kern="600" baseline="0">
                  <a:solidFill>
                    <a:schemeClr val="bg1"/>
                  </a:solidFill>
                </a:rPr>
                <a:t>« verschieben und/oder beschneiden. Die enthaltenen Hilfslinien helfen bei der richtigen Positionierung.</a:t>
              </a:r>
              <a:r>
                <a:rPr lang="de-CH" sz="1133" b="0" kern="600" baseline="0">
                  <a:solidFill>
                    <a:schemeClr val="bg1"/>
                  </a:solidFill>
                </a:rPr>
                <a:t> Durch Klicken auf »Einpassen« wird das Bild passend skaliert.</a:t>
              </a: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E93EA492-994F-4A49-996E-D851640C5B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p:blipFill>
          <p:spPr>
            <a:xfrm flipH="1">
              <a:off x="-1589225" y="3001763"/>
              <a:ext cx="1088246" cy="114392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239821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85">
          <p15:clr>
            <a:srgbClr val="FBAE40"/>
          </p15:clr>
        </p15:guide>
        <p15:guide id="2" orient="horz" pos="1829">
          <p15:clr>
            <a:srgbClr val="FBAE40"/>
          </p15:clr>
        </p15:guide>
        <p15:guide id="3" pos="2807">
          <p15:clr>
            <a:srgbClr val="FBAE40"/>
          </p15:clr>
        </p15:guide>
        <p15:guide id="4" pos="295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1 shape and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>
            <a:extLst>
              <a:ext uri="{FF2B5EF4-FFF2-40B4-BE49-F238E27FC236}">
                <a16:creationId xmlns:a16="http://schemas.microsoft.com/office/drawing/2014/main" id="{88D3D1E1-17A4-47DC-9528-97498B70D95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1F3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34B7E63D-A795-4C5F-816D-9092579F53C0}"/>
              </a:ext>
            </a:extLst>
          </p:cNvPr>
          <p:cNvSpPr/>
          <p:nvPr userDrawn="1"/>
        </p:nvSpPr>
        <p:spPr>
          <a:xfrm>
            <a:off x="0" y="313268"/>
            <a:ext cx="12192000" cy="8974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1EDD600C-1942-4012-BB0E-5AF8E9A87AB5}"/>
              </a:ext>
            </a:extLst>
          </p:cNvPr>
          <p:cNvSpPr/>
          <p:nvPr userDrawn="1"/>
        </p:nvSpPr>
        <p:spPr>
          <a:xfrm>
            <a:off x="0" y="313268"/>
            <a:ext cx="124800" cy="8974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CEF133EA-A09F-4144-B542-D1A3A7EC592A}"/>
              </a:ext>
            </a:extLst>
          </p:cNvPr>
          <p:cNvGrpSpPr/>
          <p:nvPr userDrawn="1"/>
        </p:nvGrpSpPr>
        <p:grpSpPr>
          <a:xfrm>
            <a:off x="10136049" y="559792"/>
            <a:ext cx="1440000" cy="404419"/>
            <a:chOff x="-5709525" y="-5645283"/>
            <a:chExt cx="19213689" cy="5396089"/>
          </a:xfrm>
        </p:grpSpPr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89C49703-2429-465D-A755-0BFEE48B834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5709525" y="-5645283"/>
              <a:ext cx="19213689" cy="5396089"/>
            </a:xfrm>
            <a:prstGeom prst="rect">
              <a:avLst/>
            </a:prstGeom>
          </p:spPr>
        </p:pic>
        <p:sp>
          <p:nvSpPr>
            <p:cNvPr id="32" name="Freeform 26">
              <a:extLst>
                <a:ext uri="{FF2B5EF4-FFF2-40B4-BE49-F238E27FC236}">
                  <a16:creationId xmlns:a16="http://schemas.microsoft.com/office/drawing/2014/main" id="{8C1A89DC-EAB4-4531-857B-1B88143783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709525" y="-5645283"/>
              <a:ext cx="1287463" cy="1493837"/>
            </a:xfrm>
            <a:custGeom>
              <a:avLst/>
              <a:gdLst>
                <a:gd name="T0" fmla="*/ 86 w 114"/>
                <a:gd name="T1" fmla="*/ 0 h 132"/>
                <a:gd name="T2" fmla="*/ 1 w 114"/>
                <a:gd name="T3" fmla="*/ 20 h 132"/>
                <a:gd name="T4" fmla="*/ 0 w 114"/>
                <a:gd name="T5" fmla="*/ 31 h 132"/>
                <a:gd name="T6" fmla="*/ 31 w 114"/>
                <a:gd name="T7" fmla="*/ 132 h 132"/>
                <a:gd name="T8" fmla="*/ 114 w 114"/>
                <a:gd name="T9" fmla="*/ 115 h 132"/>
                <a:gd name="T10" fmla="*/ 114 w 114"/>
                <a:gd name="T11" fmla="*/ 106 h 132"/>
                <a:gd name="T12" fmla="*/ 94 w 114"/>
                <a:gd name="T13" fmla="*/ 0 h 132"/>
                <a:gd name="T14" fmla="*/ 86 w 114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32">
                  <a:moveTo>
                    <a:pt x="86" y="0"/>
                  </a:moveTo>
                  <a:cubicBezTo>
                    <a:pt x="52" y="0"/>
                    <a:pt x="25" y="8"/>
                    <a:pt x="1" y="20"/>
                  </a:cubicBezTo>
                  <a:cubicBezTo>
                    <a:pt x="1" y="23"/>
                    <a:pt x="0" y="25"/>
                    <a:pt x="0" y="31"/>
                  </a:cubicBezTo>
                  <a:cubicBezTo>
                    <a:pt x="0" y="56"/>
                    <a:pt x="18" y="102"/>
                    <a:pt x="31" y="132"/>
                  </a:cubicBezTo>
                  <a:cubicBezTo>
                    <a:pt x="56" y="132"/>
                    <a:pt x="92" y="125"/>
                    <a:pt x="114" y="115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81"/>
                    <a:pt x="113" y="24"/>
                    <a:pt x="94" y="0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sz="240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eingeben</a:t>
            </a:r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E3894A0-E343-4559-A922-B591527E420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613829" y="6417600"/>
            <a:ext cx="9523771" cy="240000"/>
          </a:xfrm>
        </p:spPr>
        <p:txBody>
          <a:bodyPr/>
          <a:lstStyle>
            <a:lvl1pPr algn="l">
              <a:defRPr/>
            </a:lvl1pPr>
          </a:lstStyle>
          <a:p>
            <a:pPr algn="l"/>
            <a:endParaRPr lang="de-CH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C9A4044-7C30-4E00-9972-A0866BF788B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B84BE2A-AF72-474C-A580-796179F45542}" type="slidenum">
              <a:rPr lang="de-CH" smtClean="0"/>
              <a:pPr/>
              <a:t>‹Nr.›</a:t>
            </a:fld>
            <a:endParaRPr lang="de-CH" kern="600"/>
          </a:p>
        </p:txBody>
      </p:sp>
      <p:sp>
        <p:nvSpPr>
          <p:cNvPr id="15" name="Bildplatzhalter 6">
            <a:extLst>
              <a:ext uri="{FF2B5EF4-FFF2-40B4-BE49-F238E27FC236}">
                <a16:creationId xmlns:a16="http://schemas.microsoft.com/office/drawing/2014/main" id="{06BF718F-FC5B-4EDB-A31B-2EA0B91ED11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7730064" y="1816247"/>
            <a:ext cx="3845987" cy="4440276"/>
          </a:xfrm>
          <a:custGeom>
            <a:avLst/>
            <a:gdLst>
              <a:gd name="connsiteX0" fmla="*/ 0 w 3995741"/>
              <a:gd name="connsiteY0" fmla="*/ 0 h 3313116"/>
              <a:gd name="connsiteX1" fmla="*/ 3995741 w 3995741"/>
              <a:gd name="connsiteY1" fmla="*/ 0 h 3313116"/>
              <a:gd name="connsiteX2" fmla="*/ 3995741 w 3995741"/>
              <a:gd name="connsiteY2" fmla="*/ 3313116 h 3313116"/>
              <a:gd name="connsiteX3" fmla="*/ 0 w 3995741"/>
              <a:gd name="connsiteY3" fmla="*/ 3313116 h 3313116"/>
              <a:gd name="connsiteX4" fmla="*/ 0 w 3995741"/>
              <a:gd name="connsiteY4" fmla="*/ 0 h 3313116"/>
              <a:gd name="connsiteX0" fmla="*/ 24421 w 3995741"/>
              <a:gd name="connsiteY0" fmla="*/ 504684 h 3313116"/>
              <a:gd name="connsiteX1" fmla="*/ 3995741 w 3995741"/>
              <a:gd name="connsiteY1" fmla="*/ 0 h 3313116"/>
              <a:gd name="connsiteX2" fmla="*/ 3995741 w 3995741"/>
              <a:gd name="connsiteY2" fmla="*/ 3313116 h 3313116"/>
              <a:gd name="connsiteX3" fmla="*/ 0 w 3995741"/>
              <a:gd name="connsiteY3" fmla="*/ 3313116 h 3313116"/>
              <a:gd name="connsiteX4" fmla="*/ 24421 w 3995741"/>
              <a:gd name="connsiteY4" fmla="*/ 504684 h 3313116"/>
              <a:gd name="connsiteX0" fmla="*/ 24421 w 3995741"/>
              <a:gd name="connsiteY0" fmla="*/ 504684 h 3313116"/>
              <a:gd name="connsiteX1" fmla="*/ 2375869 w 3995741"/>
              <a:gd name="connsiteY1" fmla="*/ 0 h 3313116"/>
              <a:gd name="connsiteX2" fmla="*/ 3995741 w 3995741"/>
              <a:gd name="connsiteY2" fmla="*/ 3313116 h 3313116"/>
              <a:gd name="connsiteX3" fmla="*/ 0 w 3995741"/>
              <a:gd name="connsiteY3" fmla="*/ 3313116 h 3313116"/>
              <a:gd name="connsiteX4" fmla="*/ 24421 w 3995741"/>
              <a:gd name="connsiteY4" fmla="*/ 504684 h 3313116"/>
              <a:gd name="connsiteX0" fmla="*/ 24421 w 2888693"/>
              <a:gd name="connsiteY0" fmla="*/ 504684 h 3313116"/>
              <a:gd name="connsiteX1" fmla="*/ 2375869 w 2888693"/>
              <a:gd name="connsiteY1" fmla="*/ 0 h 3313116"/>
              <a:gd name="connsiteX2" fmla="*/ 2888693 w 2888693"/>
              <a:gd name="connsiteY2" fmla="*/ 2897973 h 3313116"/>
              <a:gd name="connsiteX3" fmla="*/ 0 w 2888693"/>
              <a:gd name="connsiteY3" fmla="*/ 3313116 h 3313116"/>
              <a:gd name="connsiteX4" fmla="*/ 24421 w 2888693"/>
              <a:gd name="connsiteY4" fmla="*/ 504684 h 3313116"/>
              <a:gd name="connsiteX0" fmla="*/ 0 w 2864272"/>
              <a:gd name="connsiteY0" fmla="*/ 504684 h 3323970"/>
              <a:gd name="connsiteX1" fmla="*/ 2351448 w 2864272"/>
              <a:gd name="connsiteY1" fmla="*/ 0 h 3323970"/>
              <a:gd name="connsiteX2" fmla="*/ 2864272 w 2864272"/>
              <a:gd name="connsiteY2" fmla="*/ 2897973 h 3323970"/>
              <a:gd name="connsiteX3" fmla="*/ 757024 w 2864272"/>
              <a:gd name="connsiteY3" fmla="*/ 3323970 h 3323970"/>
              <a:gd name="connsiteX4" fmla="*/ 0 w 2864272"/>
              <a:gd name="connsiteY4" fmla="*/ 504684 h 3323970"/>
              <a:gd name="connsiteX0" fmla="*/ 0 w 2864272"/>
              <a:gd name="connsiteY0" fmla="*/ 504684 h 3323970"/>
              <a:gd name="connsiteX1" fmla="*/ 2351448 w 2864272"/>
              <a:gd name="connsiteY1" fmla="*/ 0 h 3323970"/>
              <a:gd name="connsiteX2" fmla="*/ 2864272 w 2864272"/>
              <a:gd name="connsiteY2" fmla="*/ 2897973 h 3323970"/>
              <a:gd name="connsiteX3" fmla="*/ 757024 w 2864272"/>
              <a:gd name="connsiteY3" fmla="*/ 3323970 h 3323970"/>
              <a:gd name="connsiteX4" fmla="*/ 0 w 2864272"/>
              <a:gd name="connsiteY4" fmla="*/ 504684 h 3323970"/>
              <a:gd name="connsiteX0" fmla="*/ 0 w 2864272"/>
              <a:gd name="connsiteY0" fmla="*/ 504684 h 3323970"/>
              <a:gd name="connsiteX1" fmla="*/ 2351448 w 2864272"/>
              <a:gd name="connsiteY1" fmla="*/ 0 h 3323970"/>
              <a:gd name="connsiteX2" fmla="*/ 2864272 w 2864272"/>
              <a:gd name="connsiteY2" fmla="*/ 2897973 h 3323970"/>
              <a:gd name="connsiteX3" fmla="*/ 757024 w 2864272"/>
              <a:gd name="connsiteY3" fmla="*/ 3323970 h 3323970"/>
              <a:gd name="connsiteX4" fmla="*/ 0 w 2864272"/>
              <a:gd name="connsiteY4" fmla="*/ 504684 h 3323970"/>
              <a:gd name="connsiteX0" fmla="*/ 0 w 2864272"/>
              <a:gd name="connsiteY0" fmla="*/ 504684 h 3323970"/>
              <a:gd name="connsiteX1" fmla="*/ 2351448 w 2864272"/>
              <a:gd name="connsiteY1" fmla="*/ 0 h 3323970"/>
              <a:gd name="connsiteX2" fmla="*/ 2864272 w 2864272"/>
              <a:gd name="connsiteY2" fmla="*/ 2897973 h 3323970"/>
              <a:gd name="connsiteX3" fmla="*/ 757024 w 2864272"/>
              <a:gd name="connsiteY3" fmla="*/ 3323970 h 3323970"/>
              <a:gd name="connsiteX4" fmla="*/ 0 w 2864272"/>
              <a:gd name="connsiteY4" fmla="*/ 504684 h 3323970"/>
              <a:gd name="connsiteX0" fmla="*/ 0 w 2864272"/>
              <a:gd name="connsiteY0" fmla="*/ 504684 h 3323970"/>
              <a:gd name="connsiteX1" fmla="*/ 2351448 w 2864272"/>
              <a:gd name="connsiteY1" fmla="*/ 0 h 3323970"/>
              <a:gd name="connsiteX2" fmla="*/ 2864272 w 2864272"/>
              <a:gd name="connsiteY2" fmla="*/ 2897973 h 3323970"/>
              <a:gd name="connsiteX3" fmla="*/ 757024 w 2864272"/>
              <a:gd name="connsiteY3" fmla="*/ 3323970 h 3323970"/>
              <a:gd name="connsiteX4" fmla="*/ 0 w 2864272"/>
              <a:gd name="connsiteY4" fmla="*/ 504684 h 3323970"/>
              <a:gd name="connsiteX0" fmla="*/ 0 w 2866924"/>
              <a:gd name="connsiteY0" fmla="*/ 504684 h 3323970"/>
              <a:gd name="connsiteX1" fmla="*/ 2351448 w 2866924"/>
              <a:gd name="connsiteY1" fmla="*/ 0 h 3323970"/>
              <a:gd name="connsiteX2" fmla="*/ 2864272 w 2866924"/>
              <a:gd name="connsiteY2" fmla="*/ 2897973 h 3323970"/>
              <a:gd name="connsiteX3" fmla="*/ 757024 w 2866924"/>
              <a:gd name="connsiteY3" fmla="*/ 3323970 h 3323970"/>
              <a:gd name="connsiteX4" fmla="*/ 0 w 2866924"/>
              <a:gd name="connsiteY4" fmla="*/ 504684 h 3323970"/>
              <a:gd name="connsiteX0" fmla="*/ 0 w 2870898"/>
              <a:gd name="connsiteY0" fmla="*/ 504684 h 3323970"/>
              <a:gd name="connsiteX1" fmla="*/ 2351448 w 2870898"/>
              <a:gd name="connsiteY1" fmla="*/ 0 h 3323970"/>
              <a:gd name="connsiteX2" fmla="*/ 2864272 w 2870898"/>
              <a:gd name="connsiteY2" fmla="*/ 2897973 h 3323970"/>
              <a:gd name="connsiteX3" fmla="*/ 757024 w 2870898"/>
              <a:gd name="connsiteY3" fmla="*/ 3323970 h 3323970"/>
              <a:gd name="connsiteX4" fmla="*/ 0 w 2870898"/>
              <a:gd name="connsiteY4" fmla="*/ 504684 h 3323970"/>
              <a:gd name="connsiteX0" fmla="*/ 0 w 2864272"/>
              <a:gd name="connsiteY0" fmla="*/ 504684 h 3323970"/>
              <a:gd name="connsiteX1" fmla="*/ 2351448 w 2864272"/>
              <a:gd name="connsiteY1" fmla="*/ 0 h 3323970"/>
              <a:gd name="connsiteX2" fmla="*/ 2864272 w 2864272"/>
              <a:gd name="connsiteY2" fmla="*/ 2897973 h 3323970"/>
              <a:gd name="connsiteX3" fmla="*/ 757024 w 2864272"/>
              <a:gd name="connsiteY3" fmla="*/ 3323970 h 3323970"/>
              <a:gd name="connsiteX4" fmla="*/ 0 w 2864272"/>
              <a:gd name="connsiteY4" fmla="*/ 504684 h 3323970"/>
              <a:gd name="connsiteX0" fmla="*/ 0 w 2864272"/>
              <a:gd name="connsiteY0" fmla="*/ 508928 h 3328214"/>
              <a:gd name="connsiteX1" fmla="*/ 2351448 w 2864272"/>
              <a:gd name="connsiteY1" fmla="*/ 4244 h 3328214"/>
              <a:gd name="connsiteX2" fmla="*/ 2864272 w 2864272"/>
              <a:gd name="connsiteY2" fmla="*/ 2902217 h 3328214"/>
              <a:gd name="connsiteX3" fmla="*/ 757024 w 2864272"/>
              <a:gd name="connsiteY3" fmla="*/ 3328214 h 3328214"/>
              <a:gd name="connsiteX4" fmla="*/ 0 w 2864272"/>
              <a:gd name="connsiteY4" fmla="*/ 508928 h 3328214"/>
              <a:gd name="connsiteX0" fmla="*/ 0 w 2864272"/>
              <a:gd name="connsiteY0" fmla="*/ 511596 h 3330882"/>
              <a:gd name="connsiteX1" fmla="*/ 2351448 w 2864272"/>
              <a:gd name="connsiteY1" fmla="*/ 6912 h 3330882"/>
              <a:gd name="connsiteX2" fmla="*/ 2864272 w 2864272"/>
              <a:gd name="connsiteY2" fmla="*/ 2904885 h 3330882"/>
              <a:gd name="connsiteX3" fmla="*/ 757024 w 2864272"/>
              <a:gd name="connsiteY3" fmla="*/ 3330882 h 3330882"/>
              <a:gd name="connsiteX4" fmla="*/ 0 w 2864272"/>
              <a:gd name="connsiteY4" fmla="*/ 511596 h 3330882"/>
              <a:gd name="connsiteX0" fmla="*/ 0 w 2864272"/>
              <a:gd name="connsiteY0" fmla="*/ 510972 h 3330258"/>
              <a:gd name="connsiteX1" fmla="*/ 2351448 w 2864272"/>
              <a:gd name="connsiteY1" fmla="*/ 6288 h 3330258"/>
              <a:gd name="connsiteX2" fmla="*/ 2864272 w 2864272"/>
              <a:gd name="connsiteY2" fmla="*/ 2904261 h 3330258"/>
              <a:gd name="connsiteX3" fmla="*/ 757024 w 2864272"/>
              <a:gd name="connsiteY3" fmla="*/ 3330258 h 3330258"/>
              <a:gd name="connsiteX4" fmla="*/ 0 w 2864272"/>
              <a:gd name="connsiteY4" fmla="*/ 510972 h 3330258"/>
              <a:gd name="connsiteX0" fmla="*/ 0 w 2864272"/>
              <a:gd name="connsiteY0" fmla="*/ 509782 h 3329068"/>
              <a:gd name="connsiteX1" fmla="*/ 2351448 w 2864272"/>
              <a:gd name="connsiteY1" fmla="*/ 5098 h 3329068"/>
              <a:gd name="connsiteX2" fmla="*/ 2864272 w 2864272"/>
              <a:gd name="connsiteY2" fmla="*/ 2903071 h 3329068"/>
              <a:gd name="connsiteX3" fmla="*/ 757024 w 2864272"/>
              <a:gd name="connsiteY3" fmla="*/ 3329068 h 3329068"/>
              <a:gd name="connsiteX4" fmla="*/ 0 w 2864272"/>
              <a:gd name="connsiteY4" fmla="*/ 509782 h 3329068"/>
              <a:gd name="connsiteX0" fmla="*/ 0 w 2864272"/>
              <a:gd name="connsiteY0" fmla="*/ 510921 h 3330207"/>
              <a:gd name="connsiteX1" fmla="*/ 2351448 w 2864272"/>
              <a:gd name="connsiteY1" fmla="*/ 6237 h 3330207"/>
              <a:gd name="connsiteX2" fmla="*/ 2864272 w 2864272"/>
              <a:gd name="connsiteY2" fmla="*/ 2904210 h 3330207"/>
              <a:gd name="connsiteX3" fmla="*/ 757024 w 2864272"/>
              <a:gd name="connsiteY3" fmla="*/ 3330207 h 3330207"/>
              <a:gd name="connsiteX4" fmla="*/ 0 w 2864272"/>
              <a:gd name="connsiteY4" fmla="*/ 510921 h 3330207"/>
              <a:gd name="connsiteX0" fmla="*/ 5541 w 2869813"/>
              <a:gd name="connsiteY0" fmla="*/ 510921 h 3330207"/>
              <a:gd name="connsiteX1" fmla="*/ 2356989 w 2869813"/>
              <a:gd name="connsiteY1" fmla="*/ 6237 h 3330207"/>
              <a:gd name="connsiteX2" fmla="*/ 2869813 w 2869813"/>
              <a:gd name="connsiteY2" fmla="*/ 2904210 h 3330207"/>
              <a:gd name="connsiteX3" fmla="*/ 762565 w 2869813"/>
              <a:gd name="connsiteY3" fmla="*/ 3330207 h 3330207"/>
              <a:gd name="connsiteX4" fmla="*/ 5541 w 2869813"/>
              <a:gd name="connsiteY4" fmla="*/ 510921 h 3330207"/>
              <a:gd name="connsiteX0" fmla="*/ 20218 w 2884490"/>
              <a:gd name="connsiteY0" fmla="*/ 510921 h 3330207"/>
              <a:gd name="connsiteX1" fmla="*/ 2371666 w 2884490"/>
              <a:gd name="connsiteY1" fmla="*/ 6237 h 3330207"/>
              <a:gd name="connsiteX2" fmla="*/ 2884490 w 2884490"/>
              <a:gd name="connsiteY2" fmla="*/ 2904210 h 3330207"/>
              <a:gd name="connsiteX3" fmla="*/ 777242 w 2884490"/>
              <a:gd name="connsiteY3" fmla="*/ 3330207 h 3330207"/>
              <a:gd name="connsiteX4" fmla="*/ 20218 w 2884490"/>
              <a:gd name="connsiteY4" fmla="*/ 510921 h 3330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4490" h="3330207">
                <a:moveTo>
                  <a:pt x="20218" y="510921"/>
                </a:moveTo>
                <a:cubicBezTo>
                  <a:pt x="787754" y="122912"/>
                  <a:pt x="1658398" y="-34464"/>
                  <a:pt x="2371666" y="6237"/>
                </a:cubicBezTo>
                <a:cubicBezTo>
                  <a:pt x="2803089" y="529952"/>
                  <a:pt x="2884490" y="1734718"/>
                  <a:pt x="2884490" y="2904210"/>
                </a:cubicBezTo>
                <a:cubicBezTo>
                  <a:pt x="2366582" y="3097762"/>
                  <a:pt x="1845961" y="3294029"/>
                  <a:pt x="777242" y="3330207"/>
                </a:cubicBezTo>
                <a:cubicBezTo>
                  <a:pt x="20218" y="1527599"/>
                  <a:pt x="-47616" y="940573"/>
                  <a:pt x="20218" y="510921"/>
                </a:cubicBezTo>
                <a:close/>
              </a:path>
            </a:pathLst>
          </a:custGeom>
        </p:spPr>
        <p:txBody>
          <a:bodyPr anchor="ctr" anchorCtr="0"/>
          <a:lstStyle>
            <a:lvl1pPr algn="ctr">
              <a:lnSpc>
                <a:spcPts val="2067"/>
              </a:lnSpc>
              <a:spcBef>
                <a:spcPts val="0"/>
              </a:spcBef>
              <a:defRPr sz="1533" baseline="0">
                <a:latin typeface="+mj-lt"/>
              </a:defRPr>
            </a:lvl1pPr>
          </a:lstStyle>
          <a:p>
            <a:r>
              <a:rPr lang="de-CH"/>
              <a:t>Klicken Sie auf das Bild-Symbol in der Mitte um ein Bild hier zu platzier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5B907AE-511B-4F88-A82E-69DDFCDDF87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13835" y="1824563"/>
            <a:ext cx="6796616" cy="4417488"/>
          </a:xfrm>
        </p:spPr>
        <p:txBody>
          <a:bodyPr/>
          <a:lstStyle>
            <a:lvl5pPr>
              <a:defRPr/>
            </a:lvl5pPr>
            <a:lvl8pPr>
              <a:defRPr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4F1436F-238E-4485-BE86-198820D03222}"/>
              </a:ext>
            </a:extLst>
          </p:cNvPr>
          <p:cNvSpPr txBox="1"/>
          <p:nvPr userDrawn="1"/>
        </p:nvSpPr>
        <p:spPr>
          <a:xfrm>
            <a:off x="-3840000" y="4171202"/>
            <a:ext cx="3360000" cy="1714490"/>
          </a:xfrm>
          <a:prstGeom prst="rect">
            <a:avLst/>
          </a:prstGeom>
          <a:solidFill>
            <a:schemeClr val="accent2"/>
          </a:solidFill>
        </p:spPr>
        <p:txBody>
          <a:bodyPr wrap="square" lIns="144000" tIns="72000" rIns="144000" bIns="72000" rtlCol="0">
            <a:spAutoFit/>
          </a:bodyPr>
          <a:lstStyle/>
          <a:p>
            <a:r>
              <a:rPr lang="de-DE" sz="1133" b="0" kern="600">
                <a:solidFill>
                  <a:schemeClr val="bg1"/>
                </a:solidFill>
                <a:latin typeface="+mj-lt"/>
              </a:rPr>
              <a:t>Enthaltene Textebenen:</a:t>
            </a:r>
          </a:p>
          <a:p>
            <a:r>
              <a:rPr lang="de-DE" sz="1133" b="0" kern="600">
                <a:solidFill>
                  <a:schemeClr val="bg1"/>
                </a:solidFill>
                <a:latin typeface="+mn-lt"/>
              </a:rPr>
              <a:t>Ebene</a:t>
            </a: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 1 = Normaler Tex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2 = Auflist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3 = Auflist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4 = Nummerier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5 = Nummerier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6 = Untertitel mit Abstand</a:t>
            </a:r>
          </a:p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7 = Kleiner Text, fett (Legenden-Titel)</a:t>
            </a:r>
            <a:endParaRPr lang="de-CH" sz="1133" b="0" kern="600">
              <a:solidFill>
                <a:schemeClr val="bg1"/>
              </a:solidFill>
              <a:latin typeface="+mn-lt"/>
            </a:endParaRP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8 = Kleiner Text (Legenden)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90353422-C43D-45C6-9416-1431DEE1F232}"/>
              </a:ext>
            </a:extLst>
          </p:cNvPr>
          <p:cNvGrpSpPr/>
          <p:nvPr userDrawn="1"/>
        </p:nvGrpSpPr>
        <p:grpSpPr>
          <a:xfrm flipH="1">
            <a:off x="-3840000" y="313268"/>
            <a:ext cx="3360000" cy="3770250"/>
            <a:chOff x="-2880000" y="1428750"/>
            <a:chExt cx="2520000" cy="2827687"/>
          </a:xfrm>
        </p:grpSpPr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D5B29FCF-CE03-4B3A-818E-AADEFE4DFFF4}"/>
                </a:ext>
              </a:extLst>
            </p:cNvPr>
            <p:cNvSpPr txBox="1"/>
            <p:nvPr userDrawn="1"/>
          </p:nvSpPr>
          <p:spPr>
            <a:xfrm flipH="1">
              <a:off x="-2880000" y="1428750"/>
              <a:ext cx="2520000" cy="2827687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108000" tIns="54000" rIns="108000" bIns="54000" rtlCol="0">
              <a:spAutoFit/>
            </a:bodyPr>
            <a:lstStyle/>
            <a:p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Bilder einfügen:</a:t>
              </a:r>
            </a:p>
            <a:p>
              <a:pPr marL="153592" indent="-153592">
                <a:buAutoNum type="arabicPeriod"/>
              </a:pPr>
              <a:r>
                <a:rPr lang="de-DE" sz="1133" b="0" kern="600" baseline="0">
                  <a:solidFill>
                    <a:schemeClr val="bg1"/>
                  </a:solidFill>
                </a:rPr>
                <a:t>Löschen Sie das ggf. bereits vorhandene Bild</a:t>
              </a:r>
            </a:p>
            <a:p>
              <a:pPr marL="153592" indent="-153592">
                <a:buAutoNum type="arabicPeriod"/>
              </a:pPr>
              <a:r>
                <a:rPr lang="de-DE" sz="1133" b="0" kern="600" baseline="0">
                  <a:solidFill>
                    <a:schemeClr val="bg1"/>
                  </a:solidFill>
                </a:rPr>
                <a:t>Klicken Sie auf das Bild-Symbol in der Mitte </a:t>
              </a:r>
              <a:br>
                <a:rPr lang="de-DE" sz="1133" b="0" kern="600" baseline="0">
                  <a:solidFill>
                    <a:schemeClr val="bg1"/>
                  </a:solidFill>
                </a:rPr>
              </a:br>
              <a:r>
                <a:rPr lang="de-DE" sz="1133" b="0" kern="600" baseline="0">
                  <a:solidFill>
                    <a:schemeClr val="bg1"/>
                  </a:solidFill>
                </a:rPr>
                <a:t>des Platzhalters</a:t>
              </a: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r>
                <a:rPr lang="de-DE" sz="1133" b="0" kern="600" baseline="0">
                  <a:solidFill>
                    <a:schemeClr val="bg1"/>
                  </a:solidFill>
                </a:rPr>
                <a:t>Nachdem Sie Ihr Bild platziert haben, können Sie es über »Bildtools -&gt; Zuschneiden« innerhalb der hier definierten »</a:t>
              </a:r>
              <a:r>
                <a:rPr lang="de-DE" sz="1133" b="0" kern="600" baseline="0" err="1">
                  <a:solidFill>
                    <a:schemeClr val="bg1"/>
                  </a:solidFill>
                </a:rPr>
                <a:t>Bildbox</a:t>
              </a:r>
              <a:r>
                <a:rPr lang="de-DE" sz="1133" b="0" kern="600" baseline="0">
                  <a:solidFill>
                    <a:schemeClr val="bg1"/>
                  </a:solidFill>
                </a:rPr>
                <a:t>« verschieben und/oder beschneiden. Die enthaltenen Hilfslinien helfen bei der richtigen Positionierung.</a:t>
              </a:r>
              <a:r>
                <a:rPr lang="de-CH" sz="1133" b="0" kern="600" baseline="0">
                  <a:solidFill>
                    <a:schemeClr val="bg1"/>
                  </a:solidFill>
                </a:rPr>
                <a:t> Durch Klicken auf »Einpassen« wird das Bild passend skaliert.</a:t>
              </a: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</p:txBody>
        </p:sp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AF6527C9-3662-4058-A994-1FF8CEA9A98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p:blipFill>
          <p:spPr>
            <a:xfrm flipH="1">
              <a:off x="-1589225" y="3001763"/>
              <a:ext cx="1088246" cy="114392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09001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501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2 diagrams and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hteck 26">
            <a:extLst>
              <a:ext uri="{FF2B5EF4-FFF2-40B4-BE49-F238E27FC236}">
                <a16:creationId xmlns:a16="http://schemas.microsoft.com/office/drawing/2014/main" id="{43EC237B-E88E-4FE5-BD57-9961FCFFFBF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1F3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ACA4B8EC-461A-4C07-A51F-7E60E14F5EA0}"/>
              </a:ext>
            </a:extLst>
          </p:cNvPr>
          <p:cNvSpPr/>
          <p:nvPr userDrawn="1"/>
        </p:nvSpPr>
        <p:spPr>
          <a:xfrm>
            <a:off x="0" y="313268"/>
            <a:ext cx="12192000" cy="8974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E4332158-D822-4D14-BD2A-5F6CE8BB2412}"/>
              </a:ext>
            </a:extLst>
          </p:cNvPr>
          <p:cNvSpPr/>
          <p:nvPr userDrawn="1"/>
        </p:nvSpPr>
        <p:spPr>
          <a:xfrm>
            <a:off x="0" y="313268"/>
            <a:ext cx="124800" cy="8974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50B1973B-7250-4E54-8EB2-F94573222A74}"/>
              </a:ext>
            </a:extLst>
          </p:cNvPr>
          <p:cNvGrpSpPr/>
          <p:nvPr userDrawn="1"/>
        </p:nvGrpSpPr>
        <p:grpSpPr>
          <a:xfrm>
            <a:off x="10136049" y="559792"/>
            <a:ext cx="1440000" cy="404419"/>
            <a:chOff x="-5709525" y="-5645283"/>
            <a:chExt cx="19213689" cy="5396089"/>
          </a:xfrm>
        </p:grpSpPr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B1542C2E-7059-4E3F-9965-C105A4F349C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5709525" y="-5645283"/>
              <a:ext cx="19213689" cy="5396089"/>
            </a:xfrm>
            <a:prstGeom prst="rect">
              <a:avLst/>
            </a:prstGeom>
          </p:spPr>
        </p:pic>
        <p:sp>
          <p:nvSpPr>
            <p:cNvPr id="32" name="Freeform 26">
              <a:extLst>
                <a:ext uri="{FF2B5EF4-FFF2-40B4-BE49-F238E27FC236}">
                  <a16:creationId xmlns:a16="http://schemas.microsoft.com/office/drawing/2014/main" id="{A3711BF2-A19C-4508-A7B9-EB1A1A330D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709525" y="-5645283"/>
              <a:ext cx="1287463" cy="1493837"/>
            </a:xfrm>
            <a:custGeom>
              <a:avLst/>
              <a:gdLst>
                <a:gd name="T0" fmla="*/ 86 w 114"/>
                <a:gd name="T1" fmla="*/ 0 h 132"/>
                <a:gd name="T2" fmla="*/ 1 w 114"/>
                <a:gd name="T3" fmla="*/ 20 h 132"/>
                <a:gd name="T4" fmla="*/ 0 w 114"/>
                <a:gd name="T5" fmla="*/ 31 h 132"/>
                <a:gd name="T6" fmla="*/ 31 w 114"/>
                <a:gd name="T7" fmla="*/ 132 h 132"/>
                <a:gd name="T8" fmla="*/ 114 w 114"/>
                <a:gd name="T9" fmla="*/ 115 h 132"/>
                <a:gd name="T10" fmla="*/ 114 w 114"/>
                <a:gd name="T11" fmla="*/ 106 h 132"/>
                <a:gd name="T12" fmla="*/ 94 w 114"/>
                <a:gd name="T13" fmla="*/ 0 h 132"/>
                <a:gd name="T14" fmla="*/ 86 w 114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32">
                  <a:moveTo>
                    <a:pt x="86" y="0"/>
                  </a:moveTo>
                  <a:cubicBezTo>
                    <a:pt x="52" y="0"/>
                    <a:pt x="25" y="8"/>
                    <a:pt x="1" y="20"/>
                  </a:cubicBezTo>
                  <a:cubicBezTo>
                    <a:pt x="1" y="23"/>
                    <a:pt x="0" y="25"/>
                    <a:pt x="0" y="31"/>
                  </a:cubicBezTo>
                  <a:cubicBezTo>
                    <a:pt x="0" y="56"/>
                    <a:pt x="18" y="102"/>
                    <a:pt x="31" y="132"/>
                  </a:cubicBezTo>
                  <a:cubicBezTo>
                    <a:pt x="56" y="132"/>
                    <a:pt x="92" y="125"/>
                    <a:pt x="114" y="115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81"/>
                    <a:pt x="113" y="24"/>
                    <a:pt x="94" y="0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sz="240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eingeben</a:t>
            </a:r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8486A62-8E09-4568-936F-59199FC6D1B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613836" y="6417600"/>
            <a:ext cx="9523765" cy="240000"/>
          </a:xfrm>
        </p:spPr>
        <p:txBody>
          <a:bodyPr/>
          <a:lstStyle>
            <a:lvl1pPr algn="l">
              <a:defRPr/>
            </a:lvl1pPr>
          </a:lstStyle>
          <a:p>
            <a:pPr algn="l"/>
            <a:endParaRPr lang="de-CH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2404CB0-61AA-4EEA-80F8-CFF91A4646C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B84BE2A-AF72-474C-A580-796179F45542}" type="slidenum">
              <a:rPr lang="de-CH" smtClean="0"/>
              <a:pPr/>
              <a:t>‹Nr.›</a:t>
            </a:fld>
            <a:endParaRPr lang="de-CH" kern="60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CCD68D62-2F79-4667-9D7D-08EC58AC9EE0}"/>
              </a:ext>
            </a:extLst>
          </p:cNvPr>
          <p:cNvSpPr txBox="1"/>
          <p:nvPr userDrawn="1"/>
        </p:nvSpPr>
        <p:spPr>
          <a:xfrm>
            <a:off x="-3840000" y="1824563"/>
            <a:ext cx="3360000" cy="1714490"/>
          </a:xfrm>
          <a:prstGeom prst="rect">
            <a:avLst/>
          </a:prstGeom>
          <a:solidFill>
            <a:schemeClr val="accent2"/>
          </a:solidFill>
        </p:spPr>
        <p:txBody>
          <a:bodyPr wrap="square" lIns="144000" tIns="72000" rIns="144000" bIns="72000" rtlCol="0">
            <a:spAutoFit/>
          </a:bodyPr>
          <a:lstStyle/>
          <a:p>
            <a:r>
              <a:rPr lang="de-DE" sz="1133" b="0" kern="600">
                <a:solidFill>
                  <a:schemeClr val="bg1"/>
                </a:solidFill>
                <a:latin typeface="+mj-lt"/>
              </a:rPr>
              <a:t>Enthaltene Textebenen:</a:t>
            </a:r>
          </a:p>
          <a:p>
            <a:r>
              <a:rPr lang="de-DE" sz="1133" b="0" kern="600">
                <a:solidFill>
                  <a:schemeClr val="bg1"/>
                </a:solidFill>
                <a:latin typeface="+mn-lt"/>
              </a:rPr>
              <a:t>Ebene</a:t>
            </a: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 1 = Normaler Tex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2 = Auflist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3 = Auflist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4 = Nummerierung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5 = Nummerierung, Unterpunkt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6 = Untertitel mit Abstand</a:t>
            </a:r>
          </a:p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7 = Kleiner Text, fett (Legenden-Titel)</a:t>
            </a:r>
            <a:endParaRPr lang="de-CH" sz="1133" b="0" kern="600">
              <a:solidFill>
                <a:schemeClr val="bg1"/>
              </a:solidFill>
              <a:latin typeface="+mn-lt"/>
            </a:endParaRP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8 = Kleiner Text (Legenden)</a:t>
            </a:r>
          </a:p>
        </p:txBody>
      </p:sp>
      <p:sp>
        <p:nvSpPr>
          <p:cNvPr id="24" name="Textplatzhalter 10">
            <a:extLst>
              <a:ext uri="{FF2B5EF4-FFF2-40B4-BE49-F238E27FC236}">
                <a16:creationId xmlns:a16="http://schemas.microsoft.com/office/drawing/2014/main" id="{31324497-E7BC-4D2B-8081-EE46EACC4B6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13837" y="1824563"/>
            <a:ext cx="5327655" cy="4417488"/>
          </a:xfrm>
        </p:spPr>
        <p:txBody>
          <a:bodyPr/>
          <a:lstStyle>
            <a:lvl5pPr>
              <a:defRPr/>
            </a:lvl5pPr>
            <a:lvl8pPr>
              <a:defRPr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iagrammplatzhalter 3">
            <a:extLst>
              <a:ext uri="{FF2B5EF4-FFF2-40B4-BE49-F238E27FC236}">
                <a16:creationId xmlns:a16="http://schemas.microsoft.com/office/drawing/2014/main" id="{BA736CF7-4F39-49A1-93A5-40BDEEDC563E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6246284" y="1824563"/>
            <a:ext cx="2590800" cy="4417488"/>
          </a:xfrm>
        </p:spPr>
        <p:txBody>
          <a:bodyPr anchor="ctr" anchorCtr="0"/>
          <a:lstStyle>
            <a:lvl1pPr algn="ctr">
              <a:lnSpc>
                <a:spcPts val="2067"/>
              </a:lnSpc>
              <a:defRPr sz="1533" baseline="0">
                <a:latin typeface="+mj-lt"/>
              </a:defRPr>
            </a:lvl1pPr>
          </a:lstStyle>
          <a:p>
            <a:r>
              <a:rPr lang="de-DE"/>
              <a:t>Diagramm durch Klicken auf Symbol hinzufügen</a:t>
            </a:r>
            <a:endParaRPr lang="de-CH"/>
          </a:p>
        </p:txBody>
      </p:sp>
      <p:sp>
        <p:nvSpPr>
          <p:cNvPr id="33" name="Diagrammplatzhalter 3">
            <a:extLst>
              <a:ext uri="{FF2B5EF4-FFF2-40B4-BE49-F238E27FC236}">
                <a16:creationId xmlns:a16="http://schemas.microsoft.com/office/drawing/2014/main" id="{C43BF030-AF9F-479D-9EE9-FB7E8C194358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8983135" y="1824567"/>
            <a:ext cx="2588631" cy="4417488"/>
          </a:xfrm>
        </p:spPr>
        <p:txBody>
          <a:bodyPr anchor="ctr" anchorCtr="0"/>
          <a:lstStyle>
            <a:lvl1pPr algn="ctr">
              <a:lnSpc>
                <a:spcPts val="2067"/>
              </a:lnSpc>
              <a:defRPr sz="1533" baseline="0">
                <a:latin typeface="+mj-lt"/>
              </a:defRPr>
            </a:lvl1pPr>
          </a:lstStyle>
          <a:p>
            <a:r>
              <a:rPr lang="de-DE"/>
              <a:t>Diagramm durch Klicken auf Symbol hinzufügen</a:t>
            </a:r>
            <a:endParaRPr lang="de-CH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3C8EA230-6068-4770-9AAF-F7A2D213496A}"/>
              </a:ext>
            </a:extLst>
          </p:cNvPr>
          <p:cNvSpPr txBox="1"/>
          <p:nvPr userDrawn="1"/>
        </p:nvSpPr>
        <p:spPr>
          <a:xfrm flipH="1">
            <a:off x="13152000" y="1824567"/>
            <a:ext cx="3360000" cy="4417484"/>
          </a:xfrm>
          <a:prstGeom prst="rect">
            <a:avLst/>
          </a:prstGeom>
          <a:solidFill>
            <a:schemeClr val="accent4"/>
          </a:solidFill>
        </p:spPr>
        <p:txBody>
          <a:bodyPr wrap="square" lIns="360000" tIns="72000" rIns="144000" bIns="72000" rtlCol="0" anchor="ctr" anchorCtr="0">
            <a:noAutofit/>
          </a:bodyPr>
          <a:lstStyle/>
          <a:p>
            <a:r>
              <a:rPr lang="de-DE" sz="1133" b="0" kern="600">
                <a:solidFill>
                  <a:schemeClr val="bg1"/>
                </a:solidFill>
                <a:latin typeface="+mj-lt"/>
              </a:rPr>
              <a:t>Dieses Diagramm-Design speichern:</a:t>
            </a:r>
          </a:p>
          <a:p>
            <a:pPr marL="153592" indent="-153592">
              <a:buFont typeface="+mj-lt"/>
              <a:buAutoNum type="arabicPeriod"/>
            </a:pPr>
            <a:r>
              <a:rPr lang="de-CH" sz="1133" kern="600">
                <a:solidFill>
                  <a:schemeClr val="bg1"/>
                </a:solidFill>
              </a:rPr>
              <a:t>Diagramm anklicken.</a:t>
            </a:r>
          </a:p>
          <a:p>
            <a:pPr marL="153592" indent="-153592">
              <a:buFont typeface="+mj-lt"/>
              <a:buAutoNum type="arabicPeriod"/>
            </a:pPr>
            <a:r>
              <a:rPr lang="de-CH" sz="1133" kern="600">
                <a:solidFill>
                  <a:schemeClr val="bg1"/>
                </a:solidFill>
              </a:rPr>
              <a:t>Rechtsklick auf die Diagrammfläche </a:t>
            </a:r>
            <a:br>
              <a:rPr lang="de-CH" sz="1133" kern="600">
                <a:solidFill>
                  <a:schemeClr val="bg1"/>
                </a:solidFill>
              </a:rPr>
            </a:br>
            <a:r>
              <a:rPr lang="de-CH" sz="1133" kern="600">
                <a:solidFill>
                  <a:schemeClr val="bg1"/>
                </a:solidFill>
              </a:rPr>
              <a:t>(kein Element anklicken, sondern irgendwo in </a:t>
            </a:r>
            <a:br>
              <a:rPr lang="de-CH" sz="1133" kern="600">
                <a:solidFill>
                  <a:schemeClr val="bg1"/>
                </a:solidFill>
              </a:rPr>
            </a:br>
            <a:r>
              <a:rPr lang="de-CH" sz="1133" kern="600">
                <a:solidFill>
                  <a:schemeClr val="bg1"/>
                </a:solidFill>
              </a:rPr>
              <a:t>den leeren Hintergrund klicken) und Eintrag </a:t>
            </a:r>
            <a:br>
              <a:rPr lang="de-CH" sz="1133" kern="600">
                <a:solidFill>
                  <a:schemeClr val="bg1"/>
                </a:solidFill>
              </a:rPr>
            </a:br>
            <a:r>
              <a:rPr lang="de-CH" sz="1133" kern="600">
                <a:solidFill>
                  <a:schemeClr val="bg1"/>
                </a:solidFill>
              </a:rPr>
              <a:t>»Als Vorlage speichern…« auswählen.</a:t>
            </a:r>
          </a:p>
          <a:p>
            <a:pPr marL="153592" indent="-153592">
              <a:buFont typeface="+mj-lt"/>
              <a:buAutoNum type="arabicPeriod"/>
            </a:pPr>
            <a:r>
              <a:rPr lang="de-CH" sz="1133" kern="600">
                <a:solidFill>
                  <a:schemeClr val="bg1"/>
                </a:solidFill>
              </a:rPr>
              <a:t>Sinnvollen Namen geben, zum Beispiel »</a:t>
            </a:r>
            <a:r>
              <a:rPr lang="de-CH" sz="1133" kern="600" err="1">
                <a:solidFill>
                  <a:schemeClr val="bg1"/>
                </a:solidFill>
              </a:rPr>
              <a:t>IDM_Powerpoint_Kuchendiagramm</a:t>
            </a:r>
            <a:r>
              <a:rPr lang="de-CH" sz="1133" kern="600">
                <a:solidFill>
                  <a:schemeClr val="bg1"/>
                </a:solidFill>
              </a:rPr>
              <a:t>_</a:t>
            </a:r>
            <a:br>
              <a:rPr lang="de-CH" sz="1133" kern="600">
                <a:solidFill>
                  <a:schemeClr val="bg1"/>
                </a:solidFill>
              </a:rPr>
            </a:br>
            <a:r>
              <a:rPr lang="de-CH" sz="1133" kern="600">
                <a:solidFill>
                  <a:schemeClr val="bg1"/>
                </a:solidFill>
              </a:rPr>
              <a:t>1-farbig_2021«</a:t>
            </a:r>
            <a:r>
              <a:rPr lang="de-DE" sz="1133" b="0" kern="600">
                <a:solidFill>
                  <a:schemeClr val="bg1"/>
                </a:solidFill>
                <a:latin typeface="+mn-lt"/>
              </a:rPr>
              <a:t>.</a:t>
            </a:r>
          </a:p>
          <a:p>
            <a:endParaRPr lang="de-DE" sz="1133" kern="600">
              <a:solidFill>
                <a:schemeClr val="bg1"/>
              </a:solidFill>
            </a:endParaRPr>
          </a:p>
          <a:p>
            <a:r>
              <a:rPr lang="de-DE" sz="1133" b="0" kern="600">
                <a:solidFill>
                  <a:schemeClr val="bg1"/>
                </a:solidFill>
                <a:latin typeface="+mj-lt"/>
              </a:rPr>
              <a:t>Diagramme visuell ansprechend skalieren </a:t>
            </a:r>
            <a:br>
              <a:rPr lang="de-DE" sz="1133" b="0" kern="600">
                <a:solidFill>
                  <a:schemeClr val="bg1"/>
                </a:solidFill>
                <a:latin typeface="+mj-lt"/>
              </a:rPr>
            </a:br>
            <a:r>
              <a:rPr lang="de-DE" sz="1133" b="0" kern="600">
                <a:solidFill>
                  <a:schemeClr val="bg1"/>
                </a:solidFill>
                <a:latin typeface="+mj-lt"/>
              </a:rPr>
              <a:t>(im Normalfall auf die ganze Boxbreite bzw. auf die Hilfslinien), aber immer vertikal eingemittet positionieren.</a:t>
            </a:r>
          </a:p>
          <a:p>
            <a:endParaRPr lang="de-DE" sz="1133" kern="600">
              <a:solidFill>
                <a:schemeClr val="bg1"/>
              </a:solidFill>
              <a:latin typeface="+mj-lt"/>
            </a:endParaRPr>
          </a:p>
          <a:p>
            <a:r>
              <a:rPr lang="de-DE" sz="1133" b="0" kern="600">
                <a:solidFill>
                  <a:schemeClr val="bg1"/>
                </a:solidFill>
                <a:latin typeface="+mj-lt"/>
              </a:rPr>
              <a:t>Diagramme auf »einfarbig« einstellen und Konturen immer weglassen (über Format &gt; Formkontur).</a:t>
            </a:r>
          </a:p>
          <a:p>
            <a:endParaRPr lang="de-DE" sz="1133" b="0" kern="600">
              <a:solidFill>
                <a:schemeClr val="bg1"/>
              </a:solidFill>
              <a:latin typeface="+mn-lt"/>
            </a:endParaRPr>
          </a:p>
          <a:p>
            <a:r>
              <a:rPr lang="de-DE" sz="1133" kern="600">
                <a:solidFill>
                  <a:schemeClr val="bg1"/>
                </a:solidFill>
                <a:latin typeface="+mj-lt"/>
              </a:rPr>
              <a:t>Richtige Schriftdefinitionen:</a:t>
            </a:r>
          </a:p>
          <a:p>
            <a:r>
              <a:rPr lang="de-DE" sz="1133" b="0" kern="600">
                <a:solidFill>
                  <a:schemeClr val="bg1"/>
                </a:solidFill>
                <a:latin typeface="+mn-lt"/>
              </a:rPr>
              <a:t>Diagrammtitel = 16</a:t>
            </a:r>
            <a:r>
              <a:rPr lang="de-DE" sz="1133" kern="600">
                <a:solidFill>
                  <a:schemeClr val="bg1"/>
                </a:solidFill>
              </a:rPr>
              <a:t>pt</a:t>
            </a:r>
          </a:p>
          <a:p>
            <a:r>
              <a:rPr lang="de-DE" sz="1133" b="0" kern="600">
                <a:solidFill>
                  <a:schemeClr val="bg1"/>
                </a:solidFill>
                <a:latin typeface="+mn-lt"/>
              </a:rPr>
              <a:t>Rest = 11.5pt</a:t>
            </a:r>
            <a:endParaRPr lang="de-CH" sz="1133" b="0" kern="60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94767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85">
          <p15:clr>
            <a:srgbClr val="FBAE40"/>
          </p15:clr>
        </p15:guide>
        <p15:guide id="2" orient="horz" pos="1829">
          <p15:clr>
            <a:srgbClr val="FBAE40"/>
          </p15:clr>
        </p15:guide>
        <p15:guide id="3" pos="2807">
          <p15:clr>
            <a:srgbClr val="FBAE40"/>
          </p15:clr>
        </p15:guide>
        <p15:guide id="4" pos="2951">
          <p15:clr>
            <a:srgbClr val="FBAE40"/>
          </p15:clr>
        </p15:guide>
        <p15:guide id="5" pos="4175">
          <p15:clr>
            <a:srgbClr val="FBAE40"/>
          </p15:clr>
        </p15:guide>
        <p15:guide id="6" pos="4244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xecu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hteck 25">
            <a:extLst>
              <a:ext uri="{FF2B5EF4-FFF2-40B4-BE49-F238E27FC236}">
                <a16:creationId xmlns:a16="http://schemas.microsoft.com/office/drawing/2014/main" id="{AD11B847-8844-4C12-8C92-2DA34B8DC8F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1F3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4BCFBD67-3D02-48A5-984D-6DB528074A32}"/>
              </a:ext>
            </a:extLst>
          </p:cNvPr>
          <p:cNvSpPr/>
          <p:nvPr userDrawn="1"/>
        </p:nvSpPr>
        <p:spPr>
          <a:xfrm>
            <a:off x="0" y="313268"/>
            <a:ext cx="12192000" cy="8974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F64FD658-D53C-4FD9-818B-E61E355097BA}"/>
              </a:ext>
            </a:extLst>
          </p:cNvPr>
          <p:cNvSpPr/>
          <p:nvPr userDrawn="1"/>
        </p:nvSpPr>
        <p:spPr>
          <a:xfrm>
            <a:off x="0" y="313268"/>
            <a:ext cx="124800" cy="8974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9747C7CC-B53B-4F90-9CFE-411FC28A31B7}"/>
              </a:ext>
            </a:extLst>
          </p:cNvPr>
          <p:cNvGrpSpPr/>
          <p:nvPr userDrawn="1"/>
        </p:nvGrpSpPr>
        <p:grpSpPr>
          <a:xfrm>
            <a:off x="10136049" y="559792"/>
            <a:ext cx="1440000" cy="404419"/>
            <a:chOff x="-5709525" y="-5645283"/>
            <a:chExt cx="19213689" cy="5396089"/>
          </a:xfrm>
        </p:grpSpPr>
        <p:pic>
          <p:nvPicPr>
            <p:cNvPr id="46" name="Grafik 45">
              <a:extLst>
                <a:ext uri="{FF2B5EF4-FFF2-40B4-BE49-F238E27FC236}">
                  <a16:creationId xmlns:a16="http://schemas.microsoft.com/office/drawing/2014/main" id="{22751ED6-7698-47E2-8C5C-6E0B7DC7305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5709525" y="-5645283"/>
              <a:ext cx="19213689" cy="5396089"/>
            </a:xfrm>
            <a:prstGeom prst="rect">
              <a:avLst/>
            </a:prstGeom>
          </p:spPr>
        </p:pic>
        <p:sp>
          <p:nvSpPr>
            <p:cNvPr id="47" name="Freeform 26">
              <a:extLst>
                <a:ext uri="{FF2B5EF4-FFF2-40B4-BE49-F238E27FC236}">
                  <a16:creationId xmlns:a16="http://schemas.microsoft.com/office/drawing/2014/main" id="{E1543908-5773-4844-8AC5-B0A248C2DF6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709525" y="-5645283"/>
              <a:ext cx="1287463" cy="1493837"/>
            </a:xfrm>
            <a:custGeom>
              <a:avLst/>
              <a:gdLst>
                <a:gd name="T0" fmla="*/ 86 w 114"/>
                <a:gd name="T1" fmla="*/ 0 h 132"/>
                <a:gd name="T2" fmla="*/ 1 w 114"/>
                <a:gd name="T3" fmla="*/ 20 h 132"/>
                <a:gd name="T4" fmla="*/ 0 w 114"/>
                <a:gd name="T5" fmla="*/ 31 h 132"/>
                <a:gd name="T6" fmla="*/ 31 w 114"/>
                <a:gd name="T7" fmla="*/ 132 h 132"/>
                <a:gd name="T8" fmla="*/ 114 w 114"/>
                <a:gd name="T9" fmla="*/ 115 h 132"/>
                <a:gd name="T10" fmla="*/ 114 w 114"/>
                <a:gd name="T11" fmla="*/ 106 h 132"/>
                <a:gd name="T12" fmla="*/ 94 w 114"/>
                <a:gd name="T13" fmla="*/ 0 h 132"/>
                <a:gd name="T14" fmla="*/ 86 w 114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32">
                  <a:moveTo>
                    <a:pt x="86" y="0"/>
                  </a:moveTo>
                  <a:cubicBezTo>
                    <a:pt x="52" y="0"/>
                    <a:pt x="25" y="8"/>
                    <a:pt x="1" y="20"/>
                  </a:cubicBezTo>
                  <a:cubicBezTo>
                    <a:pt x="1" y="23"/>
                    <a:pt x="0" y="25"/>
                    <a:pt x="0" y="31"/>
                  </a:cubicBezTo>
                  <a:cubicBezTo>
                    <a:pt x="0" y="56"/>
                    <a:pt x="18" y="102"/>
                    <a:pt x="31" y="132"/>
                  </a:cubicBezTo>
                  <a:cubicBezTo>
                    <a:pt x="56" y="132"/>
                    <a:pt x="92" y="125"/>
                    <a:pt x="114" y="115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81"/>
                    <a:pt x="113" y="24"/>
                    <a:pt x="94" y="0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sz="240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80CCCC74-FE85-4957-B2EF-526A07E873C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3833" y="1824000"/>
            <a:ext cx="4318000" cy="960000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txBody>
          <a:bodyPr lIns="7920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bg1"/>
                </a:solidFill>
                <a:latin typeface="+mj-lt"/>
              </a:defRPr>
            </a:lvl1pPr>
            <a:lvl2pPr marL="153592" indent="-153592">
              <a:lnSpc>
                <a:spcPct val="90000"/>
              </a:lnSpc>
              <a:defRPr sz="1533" cap="none" baseline="0">
                <a:solidFill>
                  <a:schemeClr val="bg1"/>
                </a:solidFill>
                <a:latin typeface="+mn-lt"/>
              </a:defRPr>
            </a:lvl2pPr>
            <a:lvl3pPr marL="307184" indent="-153592">
              <a:lnSpc>
                <a:spcPct val="90000"/>
              </a:lnSpc>
              <a:defRPr sz="1533" cap="none" baseline="0">
                <a:solidFill>
                  <a:schemeClr val="bg1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bg1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31" name="Bildplatzhalter 6">
            <a:extLst>
              <a:ext uri="{FF2B5EF4-FFF2-40B4-BE49-F238E27FC236}">
                <a16:creationId xmlns:a16="http://schemas.microsoft.com/office/drawing/2014/main" id="{6574870F-10DA-42F4-BB77-C5E93EE9482A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14400" y="1824000"/>
            <a:ext cx="960000" cy="960000"/>
          </a:xfrm>
          <a:prstGeom prst="rect">
            <a:avLst/>
          </a:prstGeom>
          <a:noFill/>
          <a:ln w="12700">
            <a:noFill/>
          </a:ln>
        </p:spPr>
        <p:txBody>
          <a:bodyPr anchor="ctr" anchorCtr="0"/>
          <a:lstStyle>
            <a:lvl1pPr algn="ctr">
              <a:lnSpc>
                <a:spcPts val="2067"/>
              </a:lnSpc>
              <a:defRPr sz="1533" baseline="0">
                <a:latin typeface="+mj-lt"/>
              </a:defRPr>
            </a:lvl1pPr>
          </a:lstStyle>
          <a:p>
            <a:r>
              <a:rPr lang="de-CH"/>
              <a:t>Portrait einfügen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94D676EA-710D-4543-ACFF-7D706C2A8D7C}"/>
              </a:ext>
            </a:extLst>
          </p:cNvPr>
          <p:cNvGrpSpPr/>
          <p:nvPr userDrawn="1"/>
        </p:nvGrpSpPr>
        <p:grpSpPr>
          <a:xfrm flipH="1">
            <a:off x="-3840000" y="1824567"/>
            <a:ext cx="3360000" cy="3247221"/>
            <a:chOff x="-2880000" y="1428750"/>
            <a:chExt cx="2520000" cy="2435416"/>
          </a:xfrm>
        </p:grpSpPr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C5DEF3B4-5092-4A72-964F-20FB37092A93}"/>
                </a:ext>
              </a:extLst>
            </p:cNvPr>
            <p:cNvSpPr txBox="1"/>
            <p:nvPr userDrawn="1"/>
          </p:nvSpPr>
          <p:spPr>
            <a:xfrm flipH="1">
              <a:off x="-2880000" y="1428750"/>
              <a:ext cx="2520000" cy="2435416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108000" tIns="54000" rIns="108000" bIns="54000" rtlCol="0">
              <a:spAutoFit/>
            </a:bodyPr>
            <a:lstStyle/>
            <a:p>
              <a:pPr marL="0" indent="0">
                <a:buFontTx/>
                <a:buNone/>
              </a:pPr>
              <a:r>
                <a:rPr lang="de-DE" sz="1133" b="0" kern="600" baseline="0">
                  <a:solidFill>
                    <a:schemeClr val="bg1"/>
                  </a:solidFill>
                </a:rPr>
                <a:t>Nachdem Sie Ihr Bild platziert haben, können </a:t>
              </a:r>
              <a:br>
                <a:rPr lang="de-DE" sz="1133" b="0" kern="600" baseline="0">
                  <a:solidFill>
                    <a:schemeClr val="bg1"/>
                  </a:solidFill>
                </a:rPr>
              </a:br>
              <a:r>
                <a:rPr lang="de-DE" sz="1133" b="0" kern="600" baseline="0">
                  <a:solidFill>
                    <a:schemeClr val="bg1"/>
                  </a:solidFill>
                </a:rPr>
                <a:t>Sie es über »Bildtools -&gt; Zuschneiden« innerhalb der hier definierten »</a:t>
              </a:r>
              <a:r>
                <a:rPr lang="de-DE" sz="1133" b="0" kern="600" baseline="0" err="1">
                  <a:solidFill>
                    <a:schemeClr val="bg1"/>
                  </a:solidFill>
                </a:rPr>
                <a:t>Bildbox</a:t>
              </a:r>
              <a:r>
                <a:rPr lang="de-DE" sz="1133" b="0" kern="600" baseline="0">
                  <a:solidFill>
                    <a:schemeClr val="bg1"/>
                  </a:solidFill>
                </a:rPr>
                <a:t>« verschieben und/</a:t>
              </a:r>
              <a:br>
                <a:rPr lang="de-DE" sz="1133" b="0" kern="600" baseline="0">
                  <a:solidFill>
                    <a:schemeClr val="bg1"/>
                  </a:solidFill>
                </a:rPr>
              </a:br>
              <a:r>
                <a:rPr lang="de-DE" sz="1133" b="0" kern="600" baseline="0">
                  <a:solidFill>
                    <a:schemeClr val="bg1"/>
                  </a:solidFill>
                </a:rPr>
                <a:t>oder beschneiden.</a:t>
              </a:r>
              <a:r>
                <a:rPr lang="de-CH" sz="1133" b="0" kern="600" baseline="0">
                  <a:solidFill>
                    <a:schemeClr val="bg1"/>
                  </a:solidFill>
                </a:rPr>
                <a:t> Durch Klicken auf »Einpassen« wird das Bild passend skaliert.</a:t>
              </a:r>
            </a:p>
            <a:p>
              <a:pPr marL="0" indent="0">
                <a:buFontTx/>
                <a:buNone/>
              </a:pPr>
              <a:endParaRPr lang="de-CH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CH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pPr marL="0" indent="0">
                <a:buFontTx/>
                <a:buNone/>
              </a:pPr>
              <a:endParaRPr lang="de-DE" sz="1133" b="0" kern="600" baseline="0">
                <a:solidFill>
                  <a:schemeClr val="bg1"/>
                </a:solidFill>
              </a:endParaRPr>
            </a:p>
            <a:p>
              <a:r>
                <a:rPr lang="de-DE" sz="1133" b="0" kern="600">
                  <a:solidFill>
                    <a:schemeClr val="bg1"/>
                  </a:solidFill>
                  <a:latin typeface="+mj-lt"/>
                </a:rPr>
                <a:t>Enthaltene Textebenen:</a:t>
              </a:r>
            </a:p>
            <a:p>
              <a:r>
                <a:rPr lang="de-DE" sz="1133" b="0" kern="600">
                  <a:solidFill>
                    <a:schemeClr val="bg1"/>
                  </a:solidFill>
                  <a:latin typeface="+mn-lt"/>
                </a:rPr>
                <a:t>Ebene</a:t>
              </a:r>
              <a:r>
                <a:rPr lang="de-DE" sz="1133" b="0" kern="600" baseline="0">
                  <a:solidFill>
                    <a:schemeClr val="bg1"/>
                  </a:solidFill>
                  <a:latin typeface="+mn-lt"/>
                </a:rPr>
                <a:t> 1 = Vorname Name</a:t>
              </a:r>
            </a:p>
            <a:p>
              <a:r>
                <a:rPr lang="de-DE" sz="1133" b="0" kern="600" baseline="0">
                  <a:solidFill>
                    <a:schemeClr val="bg1"/>
                  </a:solidFill>
                  <a:latin typeface="+mn-lt"/>
                </a:rPr>
                <a:t>Ebene 2 = Funktion</a:t>
              </a:r>
              <a:endParaRPr lang="de-DE" sz="1133" b="0" kern="600" baseline="0">
                <a:solidFill>
                  <a:schemeClr val="bg1"/>
                </a:solidFill>
              </a:endParaRPr>
            </a:p>
          </p:txBody>
        </p:sp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3AD28544-B5B4-4719-B902-788CB165720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-1666412" y="2172471"/>
              <a:ext cx="1199925" cy="1164018"/>
            </a:xfrm>
            <a:prstGeom prst="rect">
              <a:avLst/>
            </a:prstGeom>
          </p:spPr>
        </p:pic>
      </p:grp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89D44E5-7746-44E2-98AB-1ACF191DA1AC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endParaRPr lang="de-CH" kern="60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91E25F4-1829-4FED-9ED5-1D42204799FA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5B84BE2A-AF72-474C-A580-796179F45542}" type="slidenum">
              <a:rPr lang="de-CH" smtClean="0"/>
              <a:pPr/>
              <a:t>‹Nr.›</a:t>
            </a:fld>
            <a:endParaRPr lang="de-CH" kern="600"/>
          </a:p>
        </p:txBody>
      </p:sp>
      <p:sp>
        <p:nvSpPr>
          <p:cNvPr id="48" name="Textplatzhalter 5">
            <a:extLst>
              <a:ext uri="{FF2B5EF4-FFF2-40B4-BE49-F238E27FC236}">
                <a16:creationId xmlns:a16="http://schemas.microsoft.com/office/drawing/2014/main" id="{30328B5B-E595-4CAD-96DF-5F2FC138B53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13833" y="2976684"/>
            <a:ext cx="4318000" cy="960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7920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accent2"/>
                </a:solidFill>
                <a:latin typeface="+mj-lt"/>
              </a:defRPr>
            </a:lvl1pPr>
            <a:lvl2pPr marL="153592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2pPr>
            <a:lvl3pPr marL="307184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accent2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49" name="Bildplatzhalter 6">
            <a:extLst>
              <a:ext uri="{FF2B5EF4-FFF2-40B4-BE49-F238E27FC236}">
                <a16:creationId xmlns:a16="http://schemas.microsoft.com/office/drawing/2014/main" id="{18DB94BD-96A7-4ABC-84E0-2BA73780863E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614400" y="2976684"/>
            <a:ext cx="960000" cy="960000"/>
          </a:xfrm>
          <a:prstGeom prst="rect">
            <a:avLst/>
          </a:prstGeom>
          <a:noFill/>
          <a:ln w="12700">
            <a:noFill/>
          </a:ln>
        </p:spPr>
        <p:txBody>
          <a:bodyPr anchor="ctr" anchorCtr="0"/>
          <a:lstStyle>
            <a:lvl1pPr algn="ctr">
              <a:lnSpc>
                <a:spcPts val="2067"/>
              </a:lnSpc>
              <a:defRPr sz="1533" baseline="0">
                <a:latin typeface="+mj-lt"/>
              </a:defRPr>
            </a:lvl1pPr>
          </a:lstStyle>
          <a:p>
            <a:r>
              <a:rPr lang="de-CH"/>
              <a:t>Portrait einfügen</a:t>
            </a:r>
          </a:p>
        </p:txBody>
      </p:sp>
      <p:sp>
        <p:nvSpPr>
          <p:cNvPr id="50" name="Textplatzhalter 5">
            <a:extLst>
              <a:ext uri="{FF2B5EF4-FFF2-40B4-BE49-F238E27FC236}">
                <a16:creationId xmlns:a16="http://schemas.microsoft.com/office/drawing/2014/main" id="{C25E0A5C-6EB3-442B-A2E0-BF4839264BBB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13833" y="4129368"/>
            <a:ext cx="4318000" cy="960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7920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accent2"/>
                </a:solidFill>
                <a:latin typeface="+mj-lt"/>
              </a:defRPr>
            </a:lvl1pPr>
            <a:lvl2pPr marL="153592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2pPr>
            <a:lvl3pPr marL="307184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accent2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51" name="Bildplatzhalter 6">
            <a:extLst>
              <a:ext uri="{FF2B5EF4-FFF2-40B4-BE49-F238E27FC236}">
                <a16:creationId xmlns:a16="http://schemas.microsoft.com/office/drawing/2014/main" id="{7A1BD900-14CE-40B5-B3C4-D4293DFFBD5B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614400" y="4129368"/>
            <a:ext cx="960000" cy="960000"/>
          </a:xfrm>
          <a:prstGeom prst="rect">
            <a:avLst/>
          </a:prstGeom>
          <a:noFill/>
          <a:ln w="12700">
            <a:noFill/>
          </a:ln>
        </p:spPr>
        <p:txBody>
          <a:bodyPr anchor="ctr" anchorCtr="0"/>
          <a:lstStyle>
            <a:lvl1pPr algn="ctr">
              <a:lnSpc>
                <a:spcPts val="2067"/>
              </a:lnSpc>
              <a:defRPr sz="1533" baseline="0">
                <a:latin typeface="+mj-lt"/>
              </a:defRPr>
            </a:lvl1pPr>
          </a:lstStyle>
          <a:p>
            <a:r>
              <a:rPr lang="de-CH"/>
              <a:t>Portrait einfügen</a:t>
            </a:r>
          </a:p>
        </p:txBody>
      </p:sp>
      <p:sp>
        <p:nvSpPr>
          <p:cNvPr id="52" name="Textplatzhalter 5">
            <a:extLst>
              <a:ext uri="{FF2B5EF4-FFF2-40B4-BE49-F238E27FC236}">
                <a16:creationId xmlns:a16="http://schemas.microsoft.com/office/drawing/2014/main" id="{0634A702-9D0D-4D93-B5BB-D27A42538F9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13833" y="5282051"/>
            <a:ext cx="4318000" cy="960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7920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accent2"/>
                </a:solidFill>
                <a:latin typeface="+mj-lt"/>
              </a:defRPr>
            </a:lvl1pPr>
            <a:lvl2pPr marL="153592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2pPr>
            <a:lvl3pPr marL="307184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accent2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53" name="Bildplatzhalter 6">
            <a:extLst>
              <a:ext uri="{FF2B5EF4-FFF2-40B4-BE49-F238E27FC236}">
                <a16:creationId xmlns:a16="http://schemas.microsoft.com/office/drawing/2014/main" id="{7AF2EE4B-0204-4BA5-8899-2EE484407A17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614400" y="5282051"/>
            <a:ext cx="960000" cy="960000"/>
          </a:xfrm>
          <a:prstGeom prst="rect">
            <a:avLst/>
          </a:prstGeom>
          <a:noFill/>
          <a:ln w="12700">
            <a:noFill/>
          </a:ln>
        </p:spPr>
        <p:txBody>
          <a:bodyPr anchor="ctr" anchorCtr="0"/>
          <a:lstStyle>
            <a:lvl1pPr algn="ctr">
              <a:lnSpc>
                <a:spcPts val="2067"/>
              </a:lnSpc>
              <a:defRPr sz="1533" baseline="0">
                <a:latin typeface="+mj-lt"/>
              </a:defRPr>
            </a:lvl1pPr>
          </a:lstStyle>
          <a:p>
            <a:r>
              <a:rPr lang="de-CH"/>
              <a:t>Portrait einfügen</a:t>
            </a:r>
          </a:p>
        </p:txBody>
      </p:sp>
      <p:sp>
        <p:nvSpPr>
          <p:cNvPr id="54" name="Textplatzhalter 5">
            <a:extLst>
              <a:ext uri="{FF2B5EF4-FFF2-40B4-BE49-F238E27FC236}">
                <a16:creationId xmlns:a16="http://schemas.microsoft.com/office/drawing/2014/main" id="{B2906D4C-FC61-4B68-A35B-686FD270002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894917" y="2976684"/>
            <a:ext cx="4318000" cy="960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7920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accent2"/>
                </a:solidFill>
                <a:latin typeface="+mj-lt"/>
              </a:defRPr>
            </a:lvl1pPr>
            <a:lvl2pPr marL="153592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2pPr>
            <a:lvl3pPr marL="307184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accent2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55" name="Bildplatzhalter 6">
            <a:extLst>
              <a:ext uri="{FF2B5EF4-FFF2-40B4-BE49-F238E27FC236}">
                <a16:creationId xmlns:a16="http://schemas.microsoft.com/office/drawing/2014/main" id="{504C4752-5200-4CAD-B0D8-D4833920761A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5895484" y="2976684"/>
            <a:ext cx="960000" cy="960000"/>
          </a:xfrm>
          <a:prstGeom prst="rect">
            <a:avLst/>
          </a:prstGeom>
          <a:noFill/>
          <a:ln w="12700">
            <a:noFill/>
          </a:ln>
        </p:spPr>
        <p:txBody>
          <a:bodyPr anchor="ctr" anchorCtr="0"/>
          <a:lstStyle>
            <a:lvl1pPr algn="ctr">
              <a:lnSpc>
                <a:spcPts val="2067"/>
              </a:lnSpc>
              <a:defRPr sz="1533" baseline="0">
                <a:latin typeface="+mj-lt"/>
              </a:defRPr>
            </a:lvl1pPr>
          </a:lstStyle>
          <a:p>
            <a:r>
              <a:rPr lang="de-CH"/>
              <a:t>Portrait einfügen</a:t>
            </a:r>
          </a:p>
        </p:txBody>
      </p:sp>
      <p:sp>
        <p:nvSpPr>
          <p:cNvPr id="56" name="Textplatzhalter 5">
            <a:extLst>
              <a:ext uri="{FF2B5EF4-FFF2-40B4-BE49-F238E27FC236}">
                <a16:creationId xmlns:a16="http://schemas.microsoft.com/office/drawing/2014/main" id="{8BBC604C-E562-4E97-AF41-EFCAA8152FD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894917" y="4129368"/>
            <a:ext cx="4318000" cy="960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7920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accent2"/>
                </a:solidFill>
                <a:latin typeface="+mj-lt"/>
              </a:defRPr>
            </a:lvl1pPr>
            <a:lvl2pPr marL="153592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2pPr>
            <a:lvl3pPr marL="307184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accent2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57" name="Bildplatzhalter 6">
            <a:extLst>
              <a:ext uri="{FF2B5EF4-FFF2-40B4-BE49-F238E27FC236}">
                <a16:creationId xmlns:a16="http://schemas.microsoft.com/office/drawing/2014/main" id="{133EF6CA-CAD0-48F0-BFB5-7F1DC9E343B3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5895484" y="4129368"/>
            <a:ext cx="960000" cy="960000"/>
          </a:xfrm>
          <a:prstGeom prst="rect">
            <a:avLst/>
          </a:prstGeom>
          <a:noFill/>
          <a:ln w="12700">
            <a:noFill/>
          </a:ln>
        </p:spPr>
        <p:txBody>
          <a:bodyPr anchor="ctr" anchorCtr="0"/>
          <a:lstStyle>
            <a:lvl1pPr algn="ctr">
              <a:lnSpc>
                <a:spcPts val="2067"/>
              </a:lnSpc>
              <a:defRPr sz="1533" baseline="0">
                <a:latin typeface="+mj-lt"/>
              </a:defRPr>
            </a:lvl1pPr>
          </a:lstStyle>
          <a:p>
            <a:r>
              <a:rPr lang="de-CH"/>
              <a:t>Portrait einfügen</a:t>
            </a:r>
          </a:p>
        </p:txBody>
      </p:sp>
      <p:sp>
        <p:nvSpPr>
          <p:cNvPr id="58" name="Textplatzhalter 5">
            <a:extLst>
              <a:ext uri="{FF2B5EF4-FFF2-40B4-BE49-F238E27FC236}">
                <a16:creationId xmlns:a16="http://schemas.microsoft.com/office/drawing/2014/main" id="{C7AFFCF3-31D5-47C2-8DCD-DE6AD9D13FC7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894917" y="5282051"/>
            <a:ext cx="4318000" cy="960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7920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accent2"/>
                </a:solidFill>
                <a:latin typeface="+mj-lt"/>
              </a:defRPr>
            </a:lvl1pPr>
            <a:lvl2pPr marL="153592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2pPr>
            <a:lvl3pPr marL="307184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accent2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59" name="Bildplatzhalter 6">
            <a:extLst>
              <a:ext uri="{FF2B5EF4-FFF2-40B4-BE49-F238E27FC236}">
                <a16:creationId xmlns:a16="http://schemas.microsoft.com/office/drawing/2014/main" id="{E0CB8A90-B75A-4C18-B72A-4B326575C508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5895484" y="5282051"/>
            <a:ext cx="960000" cy="960000"/>
          </a:xfrm>
          <a:prstGeom prst="rect">
            <a:avLst/>
          </a:prstGeom>
          <a:noFill/>
          <a:ln w="12700">
            <a:noFill/>
          </a:ln>
        </p:spPr>
        <p:txBody>
          <a:bodyPr anchor="ctr" anchorCtr="0"/>
          <a:lstStyle>
            <a:lvl1pPr algn="ctr">
              <a:lnSpc>
                <a:spcPts val="2067"/>
              </a:lnSpc>
              <a:defRPr sz="1533" baseline="0">
                <a:latin typeface="+mj-lt"/>
              </a:defRPr>
            </a:lvl1pPr>
          </a:lstStyle>
          <a:p>
            <a:r>
              <a:rPr lang="de-CH"/>
              <a:t>Portrait einfügen</a:t>
            </a:r>
          </a:p>
        </p:txBody>
      </p:sp>
      <p:sp>
        <p:nvSpPr>
          <p:cNvPr id="60" name="Textplatzhalter 5">
            <a:extLst>
              <a:ext uri="{FF2B5EF4-FFF2-40B4-BE49-F238E27FC236}">
                <a16:creationId xmlns:a16="http://schemas.microsoft.com/office/drawing/2014/main" id="{4E08E9AC-35ED-453A-9217-F6FC978AE9F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5894159" y="1824000"/>
            <a:ext cx="4318000" cy="960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7920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accent2"/>
                </a:solidFill>
                <a:latin typeface="+mj-lt"/>
              </a:defRPr>
            </a:lvl1pPr>
            <a:lvl2pPr marL="153592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2pPr>
            <a:lvl3pPr marL="307184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accent2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61" name="Bildplatzhalter 6">
            <a:extLst>
              <a:ext uri="{FF2B5EF4-FFF2-40B4-BE49-F238E27FC236}">
                <a16:creationId xmlns:a16="http://schemas.microsoft.com/office/drawing/2014/main" id="{080AC4A8-C651-49AE-A346-E3DE1B913F04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5894725" y="1824000"/>
            <a:ext cx="960000" cy="960000"/>
          </a:xfrm>
          <a:prstGeom prst="rect">
            <a:avLst/>
          </a:prstGeom>
          <a:noFill/>
          <a:ln w="12700">
            <a:noFill/>
          </a:ln>
        </p:spPr>
        <p:txBody>
          <a:bodyPr anchor="ctr" anchorCtr="0"/>
          <a:lstStyle>
            <a:lvl1pPr algn="ctr">
              <a:lnSpc>
                <a:spcPts val="2067"/>
              </a:lnSpc>
              <a:defRPr sz="1533" baseline="0">
                <a:latin typeface="+mj-lt"/>
              </a:defRPr>
            </a:lvl1pPr>
          </a:lstStyle>
          <a:p>
            <a:r>
              <a:rPr lang="de-CH"/>
              <a:t>Portrait einfüg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5E90315-7DFA-4CC0-894E-7B34320248A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894918" y="1210733"/>
            <a:ext cx="5681132" cy="613267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1533" baseline="0">
                <a:solidFill>
                  <a:schemeClr val="accent2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buNone/>
              <a:defRPr baseline="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90000"/>
              </a:lnSpc>
              <a:buNone/>
              <a:defRPr baseline="0">
                <a:solidFill>
                  <a:schemeClr val="accent2"/>
                </a:solidFill>
                <a:latin typeface="+mj-lt"/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baseline="0">
                <a:solidFill>
                  <a:schemeClr val="accent2"/>
                </a:solidFill>
                <a:latin typeface="+mj-lt"/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baseline="0">
                <a:solidFill>
                  <a:schemeClr val="accent2"/>
                </a:solidFill>
                <a:latin typeface="+mj-lt"/>
              </a:defRPr>
            </a:lvl5pPr>
          </a:lstStyle>
          <a:p>
            <a:pPr lvl="0"/>
            <a:r>
              <a:rPr lang="de-DE"/>
              <a:t>Optionaler Untertitel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28605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330">
          <p15:clr>
            <a:srgbClr val="A4A3A4"/>
          </p15:clr>
        </p15:guide>
        <p15:guide id="2" pos="2785">
          <p15:clr>
            <a:srgbClr val="A4A3A4"/>
          </p15:clr>
        </p15:guide>
        <p15:guide id="3" pos="4826">
          <p15:clr>
            <a:srgbClr val="A4A3A4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xecutives,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hteck 25">
            <a:extLst>
              <a:ext uri="{FF2B5EF4-FFF2-40B4-BE49-F238E27FC236}">
                <a16:creationId xmlns:a16="http://schemas.microsoft.com/office/drawing/2014/main" id="{AD11B847-8844-4C12-8C92-2DA34B8DC8F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1F3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4BCFBD67-3D02-48A5-984D-6DB528074A32}"/>
              </a:ext>
            </a:extLst>
          </p:cNvPr>
          <p:cNvSpPr/>
          <p:nvPr userDrawn="1"/>
        </p:nvSpPr>
        <p:spPr>
          <a:xfrm>
            <a:off x="0" y="313268"/>
            <a:ext cx="12192000" cy="8974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F64FD658-D53C-4FD9-818B-E61E355097BA}"/>
              </a:ext>
            </a:extLst>
          </p:cNvPr>
          <p:cNvSpPr/>
          <p:nvPr userDrawn="1"/>
        </p:nvSpPr>
        <p:spPr>
          <a:xfrm>
            <a:off x="0" y="313268"/>
            <a:ext cx="124800" cy="8974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9747C7CC-B53B-4F90-9CFE-411FC28A31B7}"/>
              </a:ext>
            </a:extLst>
          </p:cNvPr>
          <p:cNvGrpSpPr/>
          <p:nvPr userDrawn="1"/>
        </p:nvGrpSpPr>
        <p:grpSpPr>
          <a:xfrm>
            <a:off x="10136049" y="559792"/>
            <a:ext cx="1440000" cy="404419"/>
            <a:chOff x="-5709525" y="-5645283"/>
            <a:chExt cx="19213689" cy="5396089"/>
          </a:xfrm>
        </p:grpSpPr>
        <p:pic>
          <p:nvPicPr>
            <p:cNvPr id="46" name="Grafik 45">
              <a:extLst>
                <a:ext uri="{FF2B5EF4-FFF2-40B4-BE49-F238E27FC236}">
                  <a16:creationId xmlns:a16="http://schemas.microsoft.com/office/drawing/2014/main" id="{22751ED6-7698-47E2-8C5C-6E0B7DC7305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5709525" y="-5645283"/>
              <a:ext cx="19213689" cy="5396089"/>
            </a:xfrm>
            <a:prstGeom prst="rect">
              <a:avLst/>
            </a:prstGeom>
          </p:spPr>
        </p:pic>
        <p:sp>
          <p:nvSpPr>
            <p:cNvPr id="47" name="Freeform 26">
              <a:extLst>
                <a:ext uri="{FF2B5EF4-FFF2-40B4-BE49-F238E27FC236}">
                  <a16:creationId xmlns:a16="http://schemas.microsoft.com/office/drawing/2014/main" id="{E1543908-5773-4844-8AC5-B0A248C2DF6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5709525" y="-5645283"/>
              <a:ext cx="1287463" cy="1493837"/>
            </a:xfrm>
            <a:custGeom>
              <a:avLst/>
              <a:gdLst>
                <a:gd name="T0" fmla="*/ 86 w 114"/>
                <a:gd name="T1" fmla="*/ 0 h 132"/>
                <a:gd name="T2" fmla="*/ 1 w 114"/>
                <a:gd name="T3" fmla="*/ 20 h 132"/>
                <a:gd name="T4" fmla="*/ 0 w 114"/>
                <a:gd name="T5" fmla="*/ 31 h 132"/>
                <a:gd name="T6" fmla="*/ 31 w 114"/>
                <a:gd name="T7" fmla="*/ 132 h 132"/>
                <a:gd name="T8" fmla="*/ 114 w 114"/>
                <a:gd name="T9" fmla="*/ 115 h 132"/>
                <a:gd name="T10" fmla="*/ 114 w 114"/>
                <a:gd name="T11" fmla="*/ 106 h 132"/>
                <a:gd name="T12" fmla="*/ 94 w 114"/>
                <a:gd name="T13" fmla="*/ 0 h 132"/>
                <a:gd name="T14" fmla="*/ 86 w 114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32">
                  <a:moveTo>
                    <a:pt x="86" y="0"/>
                  </a:moveTo>
                  <a:cubicBezTo>
                    <a:pt x="52" y="0"/>
                    <a:pt x="25" y="8"/>
                    <a:pt x="1" y="20"/>
                  </a:cubicBezTo>
                  <a:cubicBezTo>
                    <a:pt x="1" y="23"/>
                    <a:pt x="0" y="25"/>
                    <a:pt x="0" y="31"/>
                  </a:cubicBezTo>
                  <a:cubicBezTo>
                    <a:pt x="0" y="56"/>
                    <a:pt x="18" y="102"/>
                    <a:pt x="31" y="132"/>
                  </a:cubicBezTo>
                  <a:cubicBezTo>
                    <a:pt x="56" y="132"/>
                    <a:pt x="92" y="125"/>
                    <a:pt x="114" y="115"/>
                  </a:cubicBezTo>
                  <a:cubicBezTo>
                    <a:pt x="114" y="106"/>
                    <a:pt x="114" y="106"/>
                    <a:pt x="114" y="106"/>
                  </a:cubicBezTo>
                  <a:cubicBezTo>
                    <a:pt x="114" y="81"/>
                    <a:pt x="113" y="24"/>
                    <a:pt x="94" y="0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sz="240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80CCCC74-FE85-4957-B2EF-526A07E873C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3833" y="1824000"/>
            <a:ext cx="4318000" cy="960000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txBody>
          <a:bodyPr lIns="2304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bg1"/>
                </a:solidFill>
                <a:latin typeface="+mj-lt"/>
              </a:defRPr>
            </a:lvl1pPr>
            <a:lvl2pPr marL="153592" indent="-153592">
              <a:lnSpc>
                <a:spcPct val="90000"/>
              </a:lnSpc>
              <a:defRPr sz="1533" cap="none" baseline="0">
                <a:solidFill>
                  <a:schemeClr val="bg1"/>
                </a:solidFill>
                <a:latin typeface="+mn-lt"/>
              </a:defRPr>
            </a:lvl2pPr>
            <a:lvl3pPr marL="307184" indent="-153592">
              <a:lnSpc>
                <a:spcPct val="90000"/>
              </a:lnSpc>
              <a:defRPr sz="1533" cap="none" baseline="0">
                <a:solidFill>
                  <a:schemeClr val="bg1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bg1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C5DEF3B4-5092-4A72-964F-20FB37092A93}"/>
              </a:ext>
            </a:extLst>
          </p:cNvPr>
          <p:cNvSpPr txBox="1"/>
          <p:nvPr userDrawn="1"/>
        </p:nvSpPr>
        <p:spPr>
          <a:xfrm>
            <a:off x="-3840000" y="1824569"/>
            <a:ext cx="3360000" cy="668435"/>
          </a:xfrm>
          <a:prstGeom prst="rect">
            <a:avLst/>
          </a:prstGeom>
          <a:solidFill>
            <a:schemeClr val="accent2"/>
          </a:solidFill>
        </p:spPr>
        <p:txBody>
          <a:bodyPr wrap="square" lIns="144000" tIns="72000" rIns="144000" bIns="72000" rtlCol="0">
            <a:spAutoFit/>
          </a:bodyPr>
          <a:lstStyle/>
          <a:p>
            <a:r>
              <a:rPr lang="de-DE" sz="1133" b="0" kern="600">
                <a:solidFill>
                  <a:schemeClr val="bg1"/>
                </a:solidFill>
                <a:latin typeface="+mj-lt"/>
              </a:rPr>
              <a:t>Enthaltene Textebenen:</a:t>
            </a:r>
          </a:p>
          <a:p>
            <a:r>
              <a:rPr lang="de-DE" sz="1133" b="0" kern="600">
                <a:solidFill>
                  <a:schemeClr val="bg1"/>
                </a:solidFill>
                <a:latin typeface="+mn-lt"/>
              </a:rPr>
              <a:t>Ebene</a:t>
            </a:r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 1 = Vorname Name</a:t>
            </a:r>
          </a:p>
          <a:p>
            <a:r>
              <a:rPr lang="de-DE" sz="1133" b="0" kern="600" baseline="0">
                <a:solidFill>
                  <a:schemeClr val="bg1"/>
                </a:solidFill>
                <a:latin typeface="+mn-lt"/>
              </a:rPr>
              <a:t>Ebene 2 = Funktion</a:t>
            </a:r>
            <a:endParaRPr lang="de-DE" sz="1133" b="0" kern="600" baseline="0">
              <a:solidFill>
                <a:schemeClr val="bg1"/>
              </a:solidFill>
            </a:endParaRP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89D44E5-7746-44E2-98AB-1ACF191DA1AC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endParaRPr lang="de-CH" kern="60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91E25F4-1829-4FED-9ED5-1D42204799FA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5B84BE2A-AF72-474C-A580-796179F45542}" type="slidenum">
              <a:rPr lang="de-CH" smtClean="0"/>
              <a:pPr/>
              <a:t>‹Nr.›</a:t>
            </a:fld>
            <a:endParaRPr lang="de-CH" kern="600"/>
          </a:p>
        </p:txBody>
      </p:sp>
      <p:sp>
        <p:nvSpPr>
          <p:cNvPr id="48" name="Textplatzhalter 5">
            <a:extLst>
              <a:ext uri="{FF2B5EF4-FFF2-40B4-BE49-F238E27FC236}">
                <a16:creationId xmlns:a16="http://schemas.microsoft.com/office/drawing/2014/main" id="{30328B5B-E595-4CAD-96DF-5F2FC138B53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13833" y="2976684"/>
            <a:ext cx="4318000" cy="960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2304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accent2"/>
                </a:solidFill>
                <a:latin typeface="+mj-lt"/>
              </a:defRPr>
            </a:lvl1pPr>
            <a:lvl2pPr marL="153592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2pPr>
            <a:lvl3pPr marL="307184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accent2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50" name="Textplatzhalter 5">
            <a:extLst>
              <a:ext uri="{FF2B5EF4-FFF2-40B4-BE49-F238E27FC236}">
                <a16:creationId xmlns:a16="http://schemas.microsoft.com/office/drawing/2014/main" id="{C25E0A5C-6EB3-442B-A2E0-BF4839264BBB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13833" y="4129368"/>
            <a:ext cx="4318000" cy="960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2304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accent2"/>
                </a:solidFill>
                <a:latin typeface="+mj-lt"/>
              </a:defRPr>
            </a:lvl1pPr>
            <a:lvl2pPr marL="153592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2pPr>
            <a:lvl3pPr marL="307184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accent2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52" name="Textplatzhalter 5">
            <a:extLst>
              <a:ext uri="{FF2B5EF4-FFF2-40B4-BE49-F238E27FC236}">
                <a16:creationId xmlns:a16="http://schemas.microsoft.com/office/drawing/2014/main" id="{0634A702-9D0D-4D93-B5BB-D27A42538F9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13833" y="5282051"/>
            <a:ext cx="4318000" cy="960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2304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accent2"/>
                </a:solidFill>
                <a:latin typeface="+mj-lt"/>
              </a:defRPr>
            </a:lvl1pPr>
            <a:lvl2pPr marL="153592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2pPr>
            <a:lvl3pPr marL="307184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accent2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54" name="Textplatzhalter 5">
            <a:extLst>
              <a:ext uri="{FF2B5EF4-FFF2-40B4-BE49-F238E27FC236}">
                <a16:creationId xmlns:a16="http://schemas.microsoft.com/office/drawing/2014/main" id="{B2906D4C-FC61-4B68-A35B-686FD270002D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894917" y="2976684"/>
            <a:ext cx="4318000" cy="960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2304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accent2"/>
                </a:solidFill>
                <a:latin typeface="+mj-lt"/>
              </a:defRPr>
            </a:lvl1pPr>
            <a:lvl2pPr marL="153592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2pPr>
            <a:lvl3pPr marL="307184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accent2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56" name="Textplatzhalter 5">
            <a:extLst>
              <a:ext uri="{FF2B5EF4-FFF2-40B4-BE49-F238E27FC236}">
                <a16:creationId xmlns:a16="http://schemas.microsoft.com/office/drawing/2014/main" id="{8BBC604C-E562-4E97-AF41-EFCAA8152FD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894917" y="4129368"/>
            <a:ext cx="4318000" cy="960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2304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accent2"/>
                </a:solidFill>
                <a:latin typeface="+mj-lt"/>
              </a:defRPr>
            </a:lvl1pPr>
            <a:lvl2pPr marL="153592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2pPr>
            <a:lvl3pPr marL="307184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accent2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58" name="Textplatzhalter 5">
            <a:extLst>
              <a:ext uri="{FF2B5EF4-FFF2-40B4-BE49-F238E27FC236}">
                <a16:creationId xmlns:a16="http://schemas.microsoft.com/office/drawing/2014/main" id="{C7AFFCF3-31D5-47C2-8DCD-DE6AD9D13FC7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894917" y="5282051"/>
            <a:ext cx="4318000" cy="960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2304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accent2"/>
                </a:solidFill>
                <a:latin typeface="+mj-lt"/>
              </a:defRPr>
            </a:lvl1pPr>
            <a:lvl2pPr marL="153592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2pPr>
            <a:lvl3pPr marL="307184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accent2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60" name="Textplatzhalter 5">
            <a:extLst>
              <a:ext uri="{FF2B5EF4-FFF2-40B4-BE49-F238E27FC236}">
                <a16:creationId xmlns:a16="http://schemas.microsoft.com/office/drawing/2014/main" id="{4E08E9AC-35ED-453A-9217-F6FC978AE9F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5894159" y="1824000"/>
            <a:ext cx="4318000" cy="960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230400" anchor="ctr" anchorCtr="0"/>
          <a:lstStyle>
            <a:lvl1pPr>
              <a:lnSpc>
                <a:spcPct val="90000"/>
              </a:lnSpc>
              <a:defRPr sz="2133" cap="none" baseline="0">
                <a:solidFill>
                  <a:schemeClr val="accent2"/>
                </a:solidFill>
                <a:latin typeface="+mj-lt"/>
              </a:defRPr>
            </a:lvl1pPr>
            <a:lvl2pPr marL="153592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2pPr>
            <a:lvl3pPr marL="307184" indent="-153592">
              <a:lnSpc>
                <a:spcPct val="90000"/>
              </a:lnSpc>
              <a:defRPr sz="1533" cap="none" baseline="0">
                <a:solidFill>
                  <a:schemeClr val="accent2"/>
                </a:solidFill>
                <a:latin typeface="+mn-lt"/>
              </a:defRPr>
            </a:lvl3pPr>
            <a:lvl4pPr marL="0">
              <a:lnSpc>
                <a:spcPct val="90000"/>
              </a:lnSpc>
              <a:buNone/>
              <a:defRPr sz="1533" cap="none" baseline="0">
                <a:solidFill>
                  <a:schemeClr val="accent2"/>
                </a:solidFill>
                <a:latin typeface="+mn-lt"/>
              </a:defRPr>
            </a:lvl4pPr>
            <a:lvl5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5pPr>
            <a:lvl7pPr marL="0">
              <a:lnSpc>
                <a:spcPct val="90000"/>
              </a:lnSpc>
              <a:buFont typeface="+mj-lt"/>
              <a:buNone/>
              <a:defRPr sz="1533" cap="none" baseline="0">
                <a:latin typeface="+mn-lt"/>
              </a:defRPr>
            </a:lvl7pPr>
            <a:lvl8pPr marL="0">
              <a:lnSpc>
                <a:spcPct val="90000"/>
              </a:lnSpc>
              <a:buFont typeface="+mj-lt"/>
              <a:buNone/>
              <a:defRPr sz="1533" cap="none" baseline="0"/>
            </a:lvl8pPr>
            <a:lvl9pPr marL="0">
              <a:lnSpc>
                <a:spcPct val="90000"/>
              </a:lnSpc>
              <a:buFont typeface="+mj-lt"/>
              <a:buNone/>
              <a:defRPr sz="1533" cap="none" baseline="0"/>
            </a:lvl9pPr>
          </a:lstStyle>
          <a:p>
            <a:pPr lvl="0"/>
            <a:r>
              <a:rPr lang="de-DE"/>
              <a:t>Vorname Name, Funktion mit Ebene 2 schreib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5E90315-7DFA-4CC0-894E-7B34320248A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894918" y="1210733"/>
            <a:ext cx="5681132" cy="613267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1533" baseline="0">
                <a:solidFill>
                  <a:schemeClr val="accent2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buNone/>
              <a:defRPr baseline="0">
                <a:solidFill>
                  <a:schemeClr val="accent2"/>
                </a:solidFill>
                <a:latin typeface="+mj-lt"/>
              </a:defRPr>
            </a:lvl2pPr>
            <a:lvl3pPr marL="0" indent="0">
              <a:lnSpc>
                <a:spcPct val="90000"/>
              </a:lnSpc>
              <a:buNone/>
              <a:defRPr baseline="0">
                <a:solidFill>
                  <a:schemeClr val="accent2"/>
                </a:solidFill>
                <a:latin typeface="+mj-lt"/>
              </a:defRPr>
            </a:lvl3pPr>
            <a:lvl4pPr marL="0" indent="0">
              <a:lnSpc>
                <a:spcPct val="90000"/>
              </a:lnSpc>
              <a:buFont typeface="Arial" panose="020B0604020202020204" pitchFamily="34" charset="0"/>
              <a:buNone/>
              <a:defRPr baseline="0">
                <a:solidFill>
                  <a:schemeClr val="accent2"/>
                </a:solidFill>
                <a:latin typeface="+mj-lt"/>
              </a:defRPr>
            </a:lvl4pPr>
            <a:lvl5pPr marL="0" indent="0">
              <a:lnSpc>
                <a:spcPct val="90000"/>
              </a:lnSpc>
              <a:buFont typeface="Arial" panose="020B0604020202020204" pitchFamily="34" charset="0"/>
              <a:buNone/>
              <a:defRPr baseline="0">
                <a:solidFill>
                  <a:schemeClr val="accent2"/>
                </a:solidFill>
                <a:latin typeface="+mj-lt"/>
              </a:defRPr>
            </a:lvl5pPr>
          </a:lstStyle>
          <a:p>
            <a:pPr lvl="0"/>
            <a:r>
              <a:rPr lang="de-DE"/>
              <a:t>Optionaler Untertitel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959380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330">
          <p15:clr>
            <a:srgbClr val="A4A3A4"/>
          </p15:clr>
        </p15:guide>
        <p15:guide id="2" pos="2785">
          <p15:clr>
            <a:srgbClr val="A4A3A4"/>
          </p15:clr>
        </p15:guide>
        <p15:guide id="3" pos="4826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B4D32F-122F-4D69-BA2D-ED0AABEF3798}" type="datetimeFigureOut">
              <a:rPr lang="de-DE" smtClean="0"/>
              <a:t>11.05.2023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F35C4-A9C7-4A18-8B91-2212F20329C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911582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tire area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E509C97-52CE-4BC8-84C1-1EA75420A78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4400" y="7377600"/>
            <a:ext cx="1440000" cy="240000"/>
          </a:xfrm>
        </p:spPr>
        <p:txBody>
          <a:bodyPr/>
          <a:lstStyle/>
          <a:p>
            <a:fld id="{9D5882E6-5A22-4870-8A11-3A4CBC7E8CC8}" type="datetime1">
              <a:rPr lang="de-DE" kern="600" smtClean="0"/>
              <a:t>11.05.2023</a:t>
            </a:fld>
            <a:endParaRPr lang="de-CH" kern="60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56AE9BF-81C3-48FC-A276-BE1C691452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54400" y="7377600"/>
            <a:ext cx="8083200" cy="240000"/>
          </a:xfrm>
        </p:spPr>
        <p:txBody>
          <a:bodyPr/>
          <a:lstStyle/>
          <a:p>
            <a:endParaRPr lang="de-CH" kern="60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57EBFA1-7E9E-42B3-920C-311E998B0B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136052" y="7377600"/>
            <a:ext cx="1440001" cy="240000"/>
          </a:xfrm>
        </p:spPr>
        <p:txBody>
          <a:bodyPr/>
          <a:lstStyle/>
          <a:p>
            <a:fld id="{5B84BE2A-AF72-474C-A580-796179F45542}" type="slidenum">
              <a:rPr lang="de-CH" smtClean="0"/>
              <a:pPr/>
              <a:t>‹Nr.›</a:t>
            </a:fld>
            <a:endParaRPr lang="de-CH" kern="60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6F6B802-D23F-4D03-B8B1-7F19BA4D2F1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2400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5405C008-F7C1-449C-BAD7-4607EDB1FD8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" y="0"/>
            <a:ext cx="12191999" cy="6858000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7506908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Diagramm oder Organi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38" imgH="338" progId="TCLayout.ActiveDocument.1">
                  <p:embed/>
                </p:oleObj>
              </mc:Choice>
              <mc:Fallback>
                <p:oleObj name="think-cell Folie" r:id="rId3" imgW="338" imgH="338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9184" y="491354"/>
            <a:ext cx="10354733" cy="276999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SmartArt-Platzhalter 2"/>
          <p:cNvSpPr>
            <a:spLocks noGrp="1"/>
          </p:cNvSpPr>
          <p:nvPr>
            <p:ph type="dgm" idx="1"/>
          </p:nvPr>
        </p:nvSpPr>
        <p:spPr>
          <a:xfrm>
            <a:off x="296336" y="1955803"/>
            <a:ext cx="10898717" cy="1222375"/>
          </a:xfrm>
        </p:spPr>
        <p:txBody>
          <a:bodyPr/>
          <a:lstStyle/>
          <a:p>
            <a:pPr lvl="0"/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05539235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ntire area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35E1DA8A-08C7-4673-99B0-A094B0B61EA7}"/>
              </a:ext>
            </a:extLst>
          </p:cNvPr>
          <p:cNvSpPr/>
          <p:nvPr userDrawn="1"/>
        </p:nvSpPr>
        <p:spPr>
          <a:xfrm>
            <a:off x="5" y="0"/>
            <a:ext cx="12191999" cy="685800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240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-48000" y="-48000"/>
            <a:ext cx="12288000" cy="6955200"/>
          </a:xfrm>
        </p:spPr>
        <p:txBody>
          <a:bodyPr lIns="36000" tIns="36000" rIns="36000" bIns="36000" anchor="ctr" anchorCtr="0"/>
          <a:lstStyle>
            <a:lvl1pPr defTabSz="307176">
              <a:spcBef>
                <a:spcPts val="600"/>
              </a:spcBef>
              <a:defRPr/>
            </a:lvl1pPr>
            <a:lvl2pPr marL="307176" indent="-307176" defTabSz="307176">
              <a:spcBef>
                <a:spcPts val="600"/>
              </a:spcBef>
              <a:buSzPct val="110000"/>
              <a:buFont typeface="Source Sans Pro SemiBold" panose="020B0603030403020204" pitchFamily="34" charset="0"/>
              <a:buChar char="›"/>
              <a:defRPr/>
            </a:lvl2pPr>
            <a:lvl3pPr marL="614355" indent="-307176" defTabSz="307176">
              <a:spcBef>
                <a:spcPts val="600"/>
              </a:spcBef>
              <a:buSzPct val="110000"/>
              <a:buFont typeface="Source Sans Pro SemiBold" panose="020B0603030403020204" pitchFamily="34" charset="0"/>
              <a:buChar char="›"/>
              <a:defRPr/>
            </a:lvl3pPr>
            <a:lvl4pPr marL="614355" indent="-614355" defTabSz="307176">
              <a:spcBef>
                <a:spcPts val="600"/>
              </a:spcBef>
              <a:buFont typeface="+mj-lt"/>
              <a:buAutoNum type="arabicPeriod"/>
              <a:defRPr/>
            </a:lvl4pPr>
            <a:lvl5pPr marL="1228708" indent="-614355" defTabSz="307176">
              <a:spcBef>
                <a:spcPts val="600"/>
              </a:spcBef>
              <a:buFont typeface="+mj-lt"/>
              <a:buAutoNum type="alphaLcPeriod"/>
              <a:defRPr/>
            </a:lvl5pPr>
            <a:lvl6pPr marL="0" indent="0">
              <a:lnSpc>
                <a:spcPct val="107000"/>
              </a:lnSpc>
              <a:spcBef>
                <a:spcPts val="2400"/>
              </a:spcBef>
              <a:buNone/>
              <a:defRPr sz="2400" kern="600" baseline="0">
                <a:latin typeface="+mj-lt"/>
              </a:defRPr>
            </a:lvl6pPr>
            <a:lvl7pPr marL="0" indent="0">
              <a:lnSpc>
                <a:spcPct val="107000"/>
              </a:lnSpc>
              <a:spcBef>
                <a:spcPts val="0"/>
              </a:spcBef>
              <a:buNone/>
              <a:defRPr sz="1333" kern="600" baseline="0"/>
            </a:lvl7pPr>
            <a:lvl8pPr marL="0" indent="0">
              <a:lnSpc>
                <a:spcPct val="107000"/>
              </a:lnSpc>
              <a:spcBef>
                <a:spcPts val="0"/>
              </a:spcBef>
              <a:buNone/>
              <a:defRPr sz="1333" kern="600" baseline="0"/>
            </a:lvl8pPr>
            <a:lvl9pPr marL="0" indent="0">
              <a:lnSpc>
                <a:spcPct val="107000"/>
              </a:lnSpc>
              <a:spcBef>
                <a:spcPts val="0"/>
              </a:spcBef>
              <a:buNone/>
              <a:defRPr sz="1333" kern="600" baseline="0"/>
            </a:lvl9pPr>
          </a:lstStyle>
          <a:p>
            <a:pPr lvl="0"/>
            <a:r>
              <a:rPr lang="de-DE"/>
              <a:t>Text eingeben. Beachten Sie die enthaltenen Textebenen für Auflistungen usw.</a:t>
            </a:r>
          </a:p>
          <a:p>
            <a:pPr lvl="1"/>
            <a:r>
              <a:rPr lang="de-DE"/>
              <a:t>Auflistung 1</a:t>
            </a:r>
          </a:p>
          <a:p>
            <a:pPr lvl="2"/>
            <a:r>
              <a:rPr lang="de-DE"/>
              <a:t>Auflistung 2</a:t>
            </a:r>
          </a:p>
          <a:p>
            <a:pPr lvl="3"/>
            <a:r>
              <a:rPr lang="de-DE"/>
              <a:t>Nummerierung 1</a:t>
            </a:r>
          </a:p>
          <a:p>
            <a:pPr lvl="4"/>
            <a:r>
              <a:rPr lang="de-DE"/>
              <a:t>Nummerierung 2</a:t>
            </a:r>
          </a:p>
          <a:p>
            <a:pPr lvl="5"/>
            <a:r>
              <a:rPr lang="de-DE"/>
              <a:t>Untertitel</a:t>
            </a:r>
          </a:p>
          <a:p>
            <a:pPr lvl="6"/>
            <a:r>
              <a:rPr lang="de-DE"/>
              <a:t>Legende</a:t>
            </a:r>
          </a:p>
          <a:p>
            <a:pPr lvl="7"/>
            <a:r>
              <a:rPr lang="de-DE"/>
              <a:t>Leer 8</a:t>
            </a:r>
          </a:p>
          <a:p>
            <a:pPr lvl="8"/>
            <a:r>
              <a:rPr lang="de-DE"/>
              <a:t>Leer 9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528013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10091201" y="18220"/>
            <a:ext cx="1985296" cy="13454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0">
              <a:latin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019774791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12192000" cy="1557339"/>
          </a:xfrm>
          <a:prstGeom prst="rect">
            <a:avLst/>
          </a:prstGeom>
          <a:solidFill>
            <a:srgbClr val="758592"/>
          </a:solidFill>
          <a:ln>
            <a:noFill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359957" tIns="45715" rIns="1079871" bIns="45715" rtlCol="0" anchor="ctr"/>
          <a:lstStyle/>
          <a:p>
            <a:pPr algn="ctr"/>
            <a:endParaRPr lang="de-DE" sz="1800" dirty="0"/>
          </a:p>
        </p:txBody>
      </p:sp>
      <p:sp>
        <p:nvSpPr>
          <p:cNvPr id="4" name="Title 12"/>
          <p:cNvSpPr>
            <a:spLocks noGrp="1"/>
          </p:cNvSpPr>
          <p:nvPr>
            <p:ph type="title" hasCustomPrompt="1"/>
          </p:nvPr>
        </p:nvSpPr>
        <p:spPr>
          <a:xfrm>
            <a:off x="479426" y="477048"/>
            <a:ext cx="9145589" cy="603243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chemeClr val="bg1"/>
                </a:solidFill>
                <a:latin typeface="Suedtirol Next TT" panose="02000000000000000000" pitchFamily="2" charset="0"/>
              </a:defRPr>
            </a:lvl1pPr>
          </a:lstStyle>
          <a:p>
            <a:r>
              <a:rPr lang="de-DE" dirty="0"/>
              <a:t>A simple </a:t>
            </a:r>
            <a:r>
              <a:rPr lang="de-DE" dirty="0" err="1"/>
              <a:t>slid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placing</a:t>
            </a:r>
            <a:r>
              <a:rPr lang="de-DE" dirty="0"/>
              <a:t> different </a:t>
            </a:r>
            <a:r>
              <a:rPr lang="de-DE" dirty="0" err="1"/>
              <a:t>content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0458" y="-40783"/>
            <a:ext cx="1369423" cy="1084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343086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195D02-1D29-4E04-AC68-2D0D2269493C}" type="datetime1">
              <a:rPr lang="de-DE" kern="600" smtClean="0"/>
              <a:t>11.05.2023</a:t>
            </a:fld>
            <a:endParaRPr lang="de-CH" kern="60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 kern="60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84BE2A-AF72-474C-A580-796179F45542}" type="slidenum">
              <a:rPr lang="de-CH" smtClean="0"/>
              <a:pPr/>
              <a:t>‹Nr.›</a:t>
            </a:fld>
            <a:endParaRPr lang="de-CH" kern="600"/>
          </a:p>
        </p:txBody>
      </p:sp>
      <p:sp>
        <p:nvSpPr>
          <p:cNvPr id="6" name="Rectangle 2"/>
          <p:cNvSpPr/>
          <p:nvPr userDrawn="1"/>
        </p:nvSpPr>
        <p:spPr>
          <a:xfrm>
            <a:off x="-1440112" y="3075732"/>
            <a:ext cx="16258547" cy="748988"/>
          </a:xfrm>
          <a:prstGeom prst="rect">
            <a:avLst/>
          </a:prstGeom>
          <a:solidFill>
            <a:srgbClr val="6F273F"/>
          </a:solidFill>
        </p:spPr>
        <p:txBody>
          <a:bodyPr wrap="square" rtlCol="0" anchor="ctr">
            <a:spAutoFit/>
          </a:bodyPr>
          <a:lstStyle/>
          <a:p>
            <a:pPr algn="ctr">
              <a:lnSpc>
                <a:spcPct val="100000"/>
              </a:lnSpc>
              <a:spcAft>
                <a:spcPts val="267"/>
              </a:spcAft>
            </a:pPr>
            <a:endParaRPr lang="en-GB" sz="4267" dirty="0" err="1">
              <a:solidFill>
                <a:srgbClr val="758592"/>
              </a:solidFill>
              <a:latin typeface="Suedtirol Next" panose="020B0604020202020204" charset="0"/>
            </a:endParaRP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-1723629" y="3189684"/>
            <a:ext cx="16232716" cy="124896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8000">
                <a:solidFill>
                  <a:schemeClr val="bg1"/>
                </a:solidFill>
                <a:latin typeface="Suedtirol Next TT" panose="02000000000000000000" pitchFamily="2" charset="0"/>
                <a:cs typeface="Suedtirol Next" panose="020B0604020202020204" charset="0"/>
              </a:defRPr>
            </a:lvl1pPr>
          </a:lstStyle>
          <a:p>
            <a:pPr lvl="0"/>
            <a:r>
              <a:rPr lang="en-GB" dirty="0" err="1"/>
              <a:t>d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54044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B4D32F-122F-4D69-BA2D-ED0AABEF3798}" type="datetimeFigureOut">
              <a:rPr lang="de-DE" smtClean="0"/>
              <a:t>11.05.2023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F35C4-A9C7-4A18-8B91-2212F20329C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310475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804672" y="2243828"/>
            <a:ext cx="4486656" cy="1141497"/>
          </a:xfrm>
          <a:solidFill>
            <a:srgbClr val="FFFFFF"/>
          </a:solidFill>
          <a:ln>
            <a:solidFill>
              <a:srgbClr val="404040"/>
            </a:solidFill>
          </a:ln>
        </p:spPr>
        <p:txBody>
          <a:bodyPr anchor="ctr" anchorCtr="1">
            <a:normAutofit/>
          </a:bodyPr>
          <a:lstStyle>
            <a:lvl1pPr>
              <a:defRPr sz="2200">
                <a:solidFill>
                  <a:srgbClr val="262626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36080" y="804672"/>
            <a:ext cx="4815840" cy="5248656"/>
          </a:xfrm>
        </p:spPr>
        <p:txBody>
          <a:bodyPr>
            <a:normAutofit/>
          </a:bodyPr>
          <a:lstStyle>
            <a:lvl1pPr>
              <a:defRPr sz="19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15568" y="3549918"/>
            <a:ext cx="3794760" cy="2194036"/>
          </a:xfrm>
        </p:spPr>
        <p:txBody>
          <a:bodyPr anchor="t" anchorCtr="1">
            <a:normAutofit/>
          </a:bodyPr>
          <a:lstStyle>
            <a:lvl1pPr marL="0" indent="0" algn="ctr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B4D32F-122F-4D69-BA2D-ED0AABEF3798}" type="datetimeFigureOut">
              <a:rPr lang="de-DE" smtClean="0"/>
              <a:t>11.05.2023</a:t>
            </a:fld>
            <a:endParaRPr lang="de-DE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>
          <a:xfrm>
            <a:off x="804672" y="6236208"/>
            <a:ext cx="5124797" cy="320040"/>
          </a:xfrm>
        </p:spPr>
        <p:txBody>
          <a:bodyPr/>
          <a:lstStyle>
            <a:lvl1pPr>
              <a:defRPr>
                <a:solidFill>
                  <a:srgbClr val="FFFFFF">
                    <a:alpha val="70000"/>
                  </a:srgbClr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F35C4-A9C7-4A18-8B91-2212F20329C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02041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>
          <a:xfrm>
            <a:off x="0" y="0"/>
            <a:ext cx="609599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808523" y="2243828"/>
            <a:ext cx="4494998" cy="1134640"/>
          </a:xfrm>
          <a:solidFill>
            <a:srgbClr val="FFFFFF"/>
          </a:solidFill>
          <a:ln>
            <a:solidFill>
              <a:srgbClr val="404040"/>
            </a:solidFill>
          </a:ln>
        </p:spPr>
        <p:txBody>
          <a:bodyPr anchor="ctr" anchorCtr="1">
            <a:noAutofit/>
          </a:bodyPr>
          <a:lstStyle>
            <a:lvl1pPr>
              <a:defRPr sz="2200">
                <a:solidFill>
                  <a:srgbClr val="262626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095999" y="0"/>
            <a:ext cx="6102097" cy="6858000"/>
          </a:xfrm>
          <a:solidFill>
            <a:schemeClr val="tx1">
              <a:lumMod val="85000"/>
            </a:schemeClr>
          </a:solidFill>
        </p:spPr>
        <p:txBody>
          <a:bodyPr anchor="t"/>
          <a:lstStyle>
            <a:lvl1pPr marL="0" indent="0">
              <a:buNone/>
              <a:defRPr sz="3200">
                <a:solidFill>
                  <a:schemeClr val="bg1">
                    <a:lumMod val="85000"/>
                    <a:lumOff val="1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15568" y="3549918"/>
            <a:ext cx="3794760" cy="2194037"/>
          </a:xfrm>
        </p:spPr>
        <p:txBody>
          <a:bodyPr anchor="t" anchorCtr="1">
            <a:normAutofit/>
          </a:bodyPr>
          <a:lstStyle>
            <a:lvl1pPr marL="0" indent="0" algn="ctr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3000"/>
                    </a:prstClr>
                  </a:outerShdw>
                </a:effectLst>
              </a:defRPr>
            </a:lvl1pPr>
          </a:lstStyle>
          <a:p>
            <a:fld id="{C4B4D32F-122F-4D69-BA2D-ED0AABEF3798}" type="datetimeFigureOut">
              <a:rPr lang="de-DE" smtClean="0"/>
              <a:t>11.05.2023</a:t>
            </a:fld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804672" y="6236208"/>
            <a:ext cx="5124797" cy="320040"/>
          </a:xfrm>
        </p:spPr>
        <p:txBody>
          <a:bodyPr/>
          <a:lstStyle>
            <a:lvl1pPr>
              <a:defRPr>
                <a:solidFill>
                  <a:srgbClr val="FFFFFF">
                    <a:alpha val="70000"/>
                  </a:srgbClr>
                </a:solidFill>
              </a:defRPr>
            </a:lvl1pPr>
          </a:lstStyle>
          <a:p>
            <a:endParaRPr lang="de-DE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F35C4-A9C7-4A18-8B91-2212F20329C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34428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.pn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slideLayout" Target="../slideLayouts/slideLayout58.xml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34" Type="http://schemas.openxmlformats.org/officeDocument/2006/relationships/theme" Target="../theme/theme4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57.xml"/><Relationship Id="rId33" Type="http://schemas.openxmlformats.org/officeDocument/2006/relationships/slideLayout" Target="../slideLayouts/slideLayout65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29" Type="http://schemas.openxmlformats.org/officeDocument/2006/relationships/slideLayout" Target="../slideLayouts/slideLayout61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56.xml"/><Relationship Id="rId32" Type="http://schemas.openxmlformats.org/officeDocument/2006/relationships/slideLayout" Target="../slideLayouts/slideLayout64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55.xml"/><Relationship Id="rId28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31" Type="http://schemas.openxmlformats.org/officeDocument/2006/relationships/slideLayout" Target="../slideLayouts/slideLayout63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slideLayout" Target="../slideLayouts/slideLayout59.xml"/><Relationship Id="rId30" Type="http://schemas.openxmlformats.org/officeDocument/2006/relationships/slideLayout" Target="../slideLayouts/slideLayout6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2231136" y="964692"/>
            <a:ext cx="7729728" cy="1188720"/>
          </a:xfrm>
          <a:prstGeom prst="rect">
            <a:avLst/>
          </a:prstGeom>
          <a:solidFill>
            <a:schemeClr val="bg2">
              <a:lumMod val="60000"/>
              <a:lumOff val="40000"/>
              <a:alpha val="15000"/>
            </a:schemeClr>
          </a:solidFill>
          <a:ln w="31750" cap="sq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lIns="182880" tIns="182880" rIns="182880" bIns="18288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31136" y="2638044"/>
            <a:ext cx="7729728" cy="310198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821429" y="6238816"/>
            <a:ext cx="2753746" cy="3239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fld id="{C4B4D32F-122F-4D69-BA2D-ED0AABEF3798}" type="datetimeFigureOut">
              <a:rPr lang="de-DE" smtClean="0"/>
              <a:t>11.05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00200" y="6236208"/>
            <a:ext cx="5901189" cy="32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58922" y="6217920"/>
            <a:ext cx="365760" cy="365760"/>
          </a:xfrm>
          <a:prstGeom prst="ellipse">
            <a:avLst/>
          </a:prstGeom>
          <a:solidFill>
            <a:srgbClr val="1D1D1D">
              <a:alpha val="69804"/>
            </a:srgbClr>
          </a:solidFill>
        </p:spPr>
        <p:txBody>
          <a:bodyPr vert="horz" lIns="18288" tIns="45720" rIns="18288" bIns="45720" rtlCol="0" anchor="ctr">
            <a:noAutofit/>
          </a:bodyPr>
          <a:lstStyle>
            <a:lvl1pPr algn="ctr">
              <a:defRPr sz="1100" spc="0" baseline="0">
                <a:solidFill>
                  <a:srgbClr val="FFFFFF"/>
                </a:solidFill>
              </a:defRPr>
            </a:lvl1pPr>
          </a:lstStyle>
          <a:p>
            <a:fld id="{172F35C4-A9C7-4A18-8B91-2212F20329C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480694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800" kern="1200" cap="all" spc="200" baseline="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31286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48431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65735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882775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6DF697A6-A1DF-8A4E-91D1-3BC8F5C6820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889" y="176251"/>
            <a:ext cx="1240547" cy="927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934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</p:sldLayoutIdLs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IT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3835" y="313267"/>
            <a:ext cx="9283200" cy="897467"/>
          </a:xfrm>
          <a:prstGeom prst="rect">
            <a:avLst/>
          </a:prstGeom>
        </p:spPr>
        <p:txBody>
          <a:bodyPr vert="horz" lIns="0" tIns="36000" rIns="0" bIns="0" rtlCol="0" anchor="ctr">
            <a:noAutofit/>
          </a:bodyPr>
          <a:lstStyle/>
          <a:p>
            <a:r>
              <a:rPr lang="de-DE"/>
              <a:t>Title</a:t>
            </a:r>
            <a:endParaRPr lang="en-US"/>
          </a:p>
        </p:txBody>
      </p:sp>
      <p:sp>
        <p:nvSpPr>
          <p:cNvPr id="67" name="Textplatzhalter 66">
            <a:extLst>
              <a:ext uri="{FF2B5EF4-FFF2-40B4-BE49-F238E27FC236}">
                <a16:creationId xmlns:a16="http://schemas.microsoft.com/office/drawing/2014/main" id="{613672C4-9B08-4E24-A1E3-4A00D25B29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3833" y="1824566"/>
            <a:ext cx="10962216" cy="44174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Untertitel (Ebene 6)</a:t>
            </a:r>
          </a:p>
          <a:p>
            <a:pPr lvl="6"/>
            <a:r>
              <a:rPr lang="de-DE"/>
              <a:t>Legende fett (Ebene 7)</a:t>
            </a:r>
          </a:p>
          <a:p>
            <a:pPr lvl="7"/>
            <a:r>
              <a:rPr lang="de-DE"/>
              <a:t>Legende fett (Ebene 8)</a:t>
            </a:r>
          </a:p>
          <a:p>
            <a:pPr lvl="8"/>
            <a:r>
              <a:rPr lang="de-DE"/>
              <a:t>Leer ( Ebene 9)</a:t>
            </a:r>
            <a:endParaRPr lang="de-CH"/>
          </a:p>
        </p:txBody>
      </p:sp>
      <p:sp>
        <p:nvSpPr>
          <p:cNvPr id="70" name="Datumsplatzhalter 69">
            <a:extLst>
              <a:ext uri="{FF2B5EF4-FFF2-40B4-BE49-F238E27FC236}">
                <a16:creationId xmlns:a16="http://schemas.microsoft.com/office/drawing/2014/main" id="{C309DC2E-87D5-4449-A936-1C2E151F55B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4400" y="6417600"/>
            <a:ext cx="1440000" cy="24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133" kern="60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195D02-1D29-4E04-AC68-2D0D2269493C}" type="datetime1">
              <a:rPr lang="de-DE" kern="600" smtClean="0"/>
              <a:t>11.05.2023</a:t>
            </a:fld>
            <a:endParaRPr lang="de-CH" kern="600"/>
          </a:p>
        </p:txBody>
      </p:sp>
      <p:sp>
        <p:nvSpPr>
          <p:cNvPr id="71" name="Fußzeilenplatzhalter 70">
            <a:extLst>
              <a:ext uri="{FF2B5EF4-FFF2-40B4-BE49-F238E27FC236}">
                <a16:creationId xmlns:a16="http://schemas.microsoft.com/office/drawing/2014/main" id="{6005962A-7996-432B-9FEB-C4CA5481BF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54400" y="6417600"/>
            <a:ext cx="8083200" cy="24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1133" kern="60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CH" kern="600"/>
          </a:p>
        </p:txBody>
      </p:sp>
      <p:sp>
        <p:nvSpPr>
          <p:cNvPr id="72" name="Foliennummernplatzhalter 71">
            <a:extLst>
              <a:ext uri="{FF2B5EF4-FFF2-40B4-BE49-F238E27FC236}">
                <a16:creationId xmlns:a16="http://schemas.microsoft.com/office/drawing/2014/main" id="{B6AA729A-3E10-4A67-8F02-FD9D35495C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136050" y="6417600"/>
            <a:ext cx="1440001" cy="24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133" kern="60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84BE2A-AF72-474C-A580-796179F45542}" type="slidenum">
              <a:rPr lang="de-CH" smtClean="0"/>
              <a:pPr/>
              <a:t>‹Nr.›</a:t>
            </a:fld>
            <a:endParaRPr lang="de-CH" kern="600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88D863D5-A600-4FCA-B800-5DF04B79ED8C}"/>
              </a:ext>
            </a:extLst>
          </p:cNvPr>
          <p:cNvGrpSpPr/>
          <p:nvPr userDrawn="1"/>
        </p:nvGrpSpPr>
        <p:grpSpPr>
          <a:xfrm>
            <a:off x="12334299" y="313267"/>
            <a:ext cx="672000" cy="6239744"/>
            <a:chOff x="9250724" y="234950"/>
            <a:chExt cx="504000" cy="4679808"/>
          </a:xfrm>
        </p:grpSpPr>
        <p:sp>
          <p:nvSpPr>
            <p:cNvPr id="8" name="Ellipse 7">
              <a:extLst>
                <a:ext uri="{FF2B5EF4-FFF2-40B4-BE49-F238E27FC236}">
                  <a16:creationId xmlns:a16="http://schemas.microsoft.com/office/drawing/2014/main" id="{81C45A27-2A92-4C76-B0CF-64995D1937D0}"/>
                </a:ext>
              </a:extLst>
            </p:cNvPr>
            <p:cNvSpPr/>
            <p:nvPr/>
          </p:nvSpPr>
          <p:spPr>
            <a:xfrm>
              <a:off x="9250724" y="234950"/>
              <a:ext cx="504000" cy="504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/>
              <a:r>
                <a:rPr lang="de-DE" sz="733" kern="600" baseline="0"/>
                <a:t>Schiefergrau</a:t>
              </a:r>
            </a:p>
            <a:p>
              <a:pPr algn="ctr"/>
              <a:r>
                <a:rPr lang="de-DE" sz="733" kern="600"/>
                <a:t>117/133/146</a:t>
              </a:r>
              <a:endParaRPr lang="de-CH" sz="733" kern="600" baseline="0" err="1"/>
            </a:p>
          </p:txBody>
        </p:sp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B278AC61-4321-4B82-9F73-AAC1A6DF8CB0}"/>
                </a:ext>
              </a:extLst>
            </p:cNvPr>
            <p:cNvSpPr/>
            <p:nvPr/>
          </p:nvSpPr>
          <p:spPr>
            <a:xfrm>
              <a:off x="9250724" y="831494"/>
              <a:ext cx="504000" cy="504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/>
              <a:r>
                <a:rPr lang="de-DE" sz="733" kern="600" baseline="0"/>
                <a:t>Hellgrün</a:t>
              </a:r>
            </a:p>
            <a:p>
              <a:pPr algn="ctr"/>
              <a:r>
                <a:rPr lang="de-DE" sz="733" kern="600"/>
                <a:t>169/191/0</a:t>
              </a:r>
              <a:endParaRPr lang="de-CH" sz="733" kern="600" baseline="0" err="1"/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B752349B-CA81-4005-8C6C-C4EA5014D248}"/>
                </a:ext>
              </a:extLst>
            </p:cNvPr>
            <p:cNvSpPr/>
            <p:nvPr/>
          </p:nvSpPr>
          <p:spPr>
            <a:xfrm>
              <a:off x="9250724" y="1428038"/>
              <a:ext cx="504000" cy="5040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/>
              <a:r>
                <a:rPr lang="de-DE" sz="733" kern="600" baseline="0"/>
                <a:t>Hellblau</a:t>
              </a:r>
            </a:p>
            <a:p>
              <a:pPr algn="ctr"/>
              <a:r>
                <a:rPr lang="de-DE" sz="733" kern="600"/>
                <a:t>169/205/233</a:t>
              </a:r>
              <a:endParaRPr lang="de-CH" sz="733" kern="600" baseline="0" err="1"/>
            </a:p>
          </p:txBody>
        </p:sp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93535AF4-E7BE-43FA-B127-73AE8EA1620E}"/>
                </a:ext>
              </a:extLst>
            </p:cNvPr>
            <p:cNvSpPr/>
            <p:nvPr/>
          </p:nvSpPr>
          <p:spPr>
            <a:xfrm>
              <a:off x="9250724" y="2024582"/>
              <a:ext cx="504000" cy="5040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/>
              <a:r>
                <a:rPr lang="de-DE" sz="733" kern="600" baseline="0"/>
                <a:t>Dunkelgrün</a:t>
              </a:r>
            </a:p>
            <a:p>
              <a:pPr algn="ctr"/>
              <a:r>
                <a:rPr lang="de-DE" sz="733" kern="600"/>
                <a:t>80/116/47</a:t>
              </a:r>
              <a:endParaRPr lang="de-CH" sz="733" kern="600" baseline="0" err="1"/>
            </a:p>
          </p:txBody>
        </p:sp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9CC65B79-E3A8-4C67-9C7C-7E4DA190C809}"/>
                </a:ext>
              </a:extLst>
            </p:cNvPr>
            <p:cNvSpPr/>
            <p:nvPr/>
          </p:nvSpPr>
          <p:spPr>
            <a:xfrm>
              <a:off x="9250724" y="2621126"/>
              <a:ext cx="504000" cy="5040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/>
              <a:r>
                <a:rPr lang="de-DE" sz="733" kern="600" baseline="0"/>
                <a:t>Orange</a:t>
              </a:r>
            </a:p>
            <a:p>
              <a:pPr algn="ctr"/>
              <a:r>
                <a:rPr lang="de-DE" sz="733" kern="600"/>
                <a:t>222/112/0</a:t>
              </a:r>
              <a:endParaRPr lang="de-CH" sz="733" kern="600" baseline="0" err="1"/>
            </a:p>
          </p:txBody>
        </p:sp>
        <p:sp>
          <p:nvSpPr>
            <p:cNvPr id="13" name="Ellipse 12">
              <a:extLst>
                <a:ext uri="{FF2B5EF4-FFF2-40B4-BE49-F238E27FC236}">
                  <a16:creationId xmlns:a16="http://schemas.microsoft.com/office/drawing/2014/main" id="{1CA278D2-F082-459A-9521-F2204F7E84C4}"/>
                </a:ext>
              </a:extLst>
            </p:cNvPr>
            <p:cNvSpPr/>
            <p:nvPr/>
          </p:nvSpPr>
          <p:spPr>
            <a:xfrm>
              <a:off x="9250724" y="3217670"/>
              <a:ext cx="504000" cy="50400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/>
              <a:r>
                <a:rPr lang="de-DE" sz="733" kern="600" baseline="0"/>
                <a:t>Rot</a:t>
              </a:r>
            </a:p>
            <a:p>
              <a:pPr algn="ctr"/>
              <a:r>
                <a:rPr lang="de-DE" sz="733" kern="600"/>
                <a:t>179/25/57</a:t>
              </a:r>
              <a:endParaRPr lang="de-CH" sz="733" kern="600" baseline="0" err="1"/>
            </a:p>
          </p:txBody>
        </p:sp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id="{E52693F3-ADAB-4260-A2DF-5D1BBFDFBF40}"/>
                </a:ext>
              </a:extLst>
            </p:cNvPr>
            <p:cNvSpPr/>
            <p:nvPr/>
          </p:nvSpPr>
          <p:spPr>
            <a:xfrm>
              <a:off x="9250724" y="3814214"/>
              <a:ext cx="504000" cy="5040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/>
              <a:r>
                <a:rPr lang="de-DE" sz="733" kern="600" baseline="0"/>
                <a:t>Bordeaux</a:t>
              </a:r>
            </a:p>
            <a:p>
              <a:pPr algn="ctr"/>
              <a:r>
                <a:rPr lang="de-DE" sz="733" kern="600"/>
                <a:t>111/39/63</a:t>
              </a:r>
              <a:endParaRPr lang="de-CH" sz="733" kern="600" baseline="0" err="1"/>
            </a:p>
          </p:txBody>
        </p: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E103745E-CC8C-4036-BB7D-F8ECF68EE973}"/>
                </a:ext>
              </a:extLst>
            </p:cNvPr>
            <p:cNvSpPr/>
            <p:nvPr/>
          </p:nvSpPr>
          <p:spPr>
            <a:xfrm>
              <a:off x="9250724" y="4410758"/>
              <a:ext cx="504000" cy="5040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/>
              <a:r>
                <a:rPr lang="de-DE" sz="733" kern="600" baseline="0"/>
                <a:t>Gelb</a:t>
              </a:r>
            </a:p>
            <a:p>
              <a:pPr algn="ctr"/>
              <a:r>
                <a:rPr lang="de-DE" sz="733" kern="600"/>
                <a:t>244/209/0</a:t>
              </a:r>
              <a:endParaRPr lang="de-CH" sz="733" kern="600" baseline="0" err="1"/>
            </a:p>
          </p:txBody>
        </p:sp>
      </p:grpSp>
    </p:spTree>
    <p:extLst>
      <p:ext uri="{BB962C8B-B14F-4D97-AF65-F5344CB8AC3E}">
        <p14:creationId xmlns:p14="http://schemas.microsoft.com/office/powerpoint/2010/main" val="3001631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  <p:sldLayoutId id="2147483731" r:id="rId13"/>
    <p:sldLayoutId id="2147483732" r:id="rId14"/>
    <p:sldLayoutId id="2147483733" r:id="rId15"/>
    <p:sldLayoutId id="2147483734" r:id="rId16"/>
  </p:sldLayoutIdLst>
  <p:hf sldNum="0" hdr="0" ftr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400" b="1" kern="600" cap="none" baseline="0">
          <a:solidFill>
            <a:schemeClr val="accent2"/>
          </a:solidFill>
          <a:latin typeface="Suedtirol Next TT" panose="02000000000000000000" pitchFamily="2" charset="0"/>
          <a:ea typeface="+mj-ea"/>
          <a:cs typeface="+mj-cs"/>
        </a:defRPr>
      </a:lvl1pPr>
    </p:titleStyle>
    <p:bodyStyle>
      <a:lvl1pPr marL="0" indent="0" algn="l" defTabSz="307192" rtl="0" eaLnBrk="1" latinLnBrk="0" hangingPunct="1">
        <a:lnSpc>
          <a:spcPts val="3000"/>
        </a:lnSpc>
        <a:spcBef>
          <a:spcPts val="0"/>
        </a:spcBef>
        <a:buFont typeface="Arial" panose="020B0604020202020204" pitchFamily="34" charset="0"/>
        <a:buNone/>
        <a:defRPr sz="2133" kern="600" baseline="0">
          <a:solidFill>
            <a:schemeClr val="tx1"/>
          </a:solidFill>
          <a:latin typeface="+mn-lt"/>
          <a:ea typeface="+mn-ea"/>
          <a:cs typeface="+mn-cs"/>
        </a:defRPr>
      </a:lvl1pPr>
      <a:lvl2pPr marL="307192" indent="-307192" algn="l" defTabSz="307192" rtl="0" eaLnBrk="1" latinLnBrk="0" hangingPunct="1">
        <a:lnSpc>
          <a:spcPts val="3000"/>
        </a:lnSpc>
        <a:spcBef>
          <a:spcPts val="0"/>
        </a:spcBef>
        <a:buClrTx/>
        <a:buSzPct val="110000"/>
        <a:buFont typeface="Source Sans Pro Semibold" panose="020B0603030403020204" pitchFamily="34" charset="0"/>
        <a:buChar char="›"/>
        <a:defRPr sz="2133" kern="600" baseline="0">
          <a:solidFill>
            <a:schemeClr val="tx1"/>
          </a:solidFill>
          <a:latin typeface="+mn-lt"/>
          <a:ea typeface="+mn-ea"/>
          <a:cs typeface="+mn-cs"/>
        </a:defRPr>
      </a:lvl2pPr>
      <a:lvl3pPr marL="614385" indent="-307192" algn="l" defTabSz="307192" rtl="0" eaLnBrk="1" latinLnBrk="0" hangingPunct="1">
        <a:lnSpc>
          <a:spcPts val="3000"/>
        </a:lnSpc>
        <a:spcBef>
          <a:spcPts val="0"/>
        </a:spcBef>
        <a:buClrTx/>
        <a:buSzPct val="110000"/>
        <a:buFont typeface="Source Sans Pro Semibold" panose="020B0603030403020204" pitchFamily="34" charset="0"/>
        <a:buChar char="›"/>
        <a:defRPr sz="2133" kern="600" baseline="0">
          <a:solidFill>
            <a:schemeClr val="tx1"/>
          </a:solidFill>
          <a:latin typeface="+mn-lt"/>
          <a:ea typeface="+mn-ea"/>
          <a:cs typeface="+mn-cs"/>
        </a:defRPr>
      </a:lvl3pPr>
      <a:lvl4pPr marL="614385" indent="-614385" algn="l" defTabSz="307192" rtl="0" eaLnBrk="1" latinLnBrk="0" hangingPunct="1">
        <a:lnSpc>
          <a:spcPts val="3000"/>
        </a:lnSpc>
        <a:spcBef>
          <a:spcPts val="0"/>
        </a:spcBef>
        <a:buFont typeface="+mj-lt"/>
        <a:buAutoNum type="arabicPeriod"/>
        <a:defRPr sz="2133" kern="600" baseline="0">
          <a:solidFill>
            <a:schemeClr val="tx1"/>
          </a:solidFill>
          <a:latin typeface="+mn-lt"/>
          <a:ea typeface="+mn-ea"/>
          <a:cs typeface="+mn-cs"/>
        </a:defRPr>
      </a:lvl4pPr>
      <a:lvl5pPr marL="1228769" indent="-614385" algn="l" defTabSz="307192" rtl="0" eaLnBrk="1" latinLnBrk="0" hangingPunct="1">
        <a:lnSpc>
          <a:spcPts val="3000"/>
        </a:lnSpc>
        <a:spcBef>
          <a:spcPts val="0"/>
        </a:spcBef>
        <a:buFont typeface="+mj-lt"/>
        <a:buAutoNum type="alphaLcPeriod"/>
        <a:defRPr sz="2133" kern="60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377" rtl="0" eaLnBrk="1" latinLnBrk="0" hangingPunct="1">
        <a:lnSpc>
          <a:spcPts val="3000"/>
        </a:lnSpc>
        <a:spcBef>
          <a:spcPts val="3000"/>
        </a:spcBef>
        <a:buFont typeface="Arial" panose="020B0604020202020204" pitchFamily="34" charset="0"/>
        <a:buNone/>
        <a:defRPr sz="2133" kern="600" baseline="0">
          <a:solidFill>
            <a:schemeClr val="tx1"/>
          </a:solidFill>
          <a:latin typeface="+mj-lt"/>
          <a:ea typeface="+mn-ea"/>
          <a:cs typeface="+mn-cs"/>
        </a:defRPr>
      </a:lvl6pPr>
      <a:lvl7pPr marL="0" indent="0" algn="l" defTabSz="914377" rtl="0" eaLnBrk="1" latinLnBrk="0" hangingPunct="1">
        <a:lnSpc>
          <a:spcPts val="2067"/>
        </a:lnSpc>
        <a:spcBef>
          <a:spcPts val="0"/>
        </a:spcBef>
        <a:buFont typeface="Arial" panose="020B0604020202020204" pitchFamily="34" charset="0"/>
        <a:buNone/>
        <a:defRPr sz="1533" kern="600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ts val="2067"/>
        </a:lnSpc>
        <a:spcBef>
          <a:spcPts val="0"/>
        </a:spcBef>
        <a:buFont typeface="Arial" panose="020B0604020202020204" pitchFamily="34" charset="0"/>
        <a:buNone/>
        <a:defRPr sz="1533" kern="6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ts val="3000"/>
        </a:lnSpc>
        <a:spcBef>
          <a:spcPts val="0"/>
        </a:spcBef>
        <a:buFont typeface="Arial" panose="020B0604020202020204" pitchFamily="34" charset="0"/>
        <a:buNone/>
        <a:defRPr sz="2133" kern="6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469">
          <p15:clr>
            <a:srgbClr val="F26B43"/>
          </p15:clr>
        </p15:guide>
        <p15:guide id="3" orient="horz" pos="3095">
          <p15:clr>
            <a:srgbClr val="F26B43"/>
          </p15:clr>
        </p15:guide>
        <p15:guide id="4" pos="290">
          <p15:clr>
            <a:srgbClr val="F26B43"/>
          </p15:clr>
        </p15:guide>
        <p15:guide id="7" orient="horz" pos="2949">
          <p15:clr>
            <a:srgbClr val="F26B43"/>
          </p15:clr>
        </p15:guide>
        <p15:guide id="10" pos="3743">
          <p15:clr>
            <a:srgbClr val="F26B43"/>
          </p15:clr>
        </p15:guide>
        <p15:guide id="12" pos="2016">
          <p15:clr>
            <a:srgbClr val="F26B43"/>
          </p15:clr>
        </p15:guide>
        <p15:guide id="13" orient="horz" pos="148">
          <p15:clr>
            <a:srgbClr val="F26B43"/>
          </p15:clr>
        </p15:guide>
        <p15:guide id="15" orient="horz" pos="572">
          <p15:clr>
            <a:srgbClr val="F26B43"/>
          </p15:clr>
        </p15:guide>
        <p15:guide id="16" orient="horz" pos="86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3835" y="313268"/>
            <a:ext cx="9283200" cy="897467"/>
          </a:xfrm>
          <a:prstGeom prst="rect">
            <a:avLst/>
          </a:prstGeom>
        </p:spPr>
        <p:txBody>
          <a:bodyPr vert="horz" lIns="0" tIns="36000" rIns="0" bIns="0" rtlCol="0" anchor="ctr">
            <a:noAutofit/>
          </a:bodyPr>
          <a:lstStyle/>
          <a:p>
            <a:r>
              <a:rPr lang="de-DE"/>
              <a:t>Title</a:t>
            </a:r>
            <a:endParaRPr lang="en-US"/>
          </a:p>
        </p:txBody>
      </p:sp>
      <p:sp>
        <p:nvSpPr>
          <p:cNvPr id="67" name="Textplatzhalter 66">
            <a:extLst>
              <a:ext uri="{FF2B5EF4-FFF2-40B4-BE49-F238E27FC236}">
                <a16:creationId xmlns:a16="http://schemas.microsoft.com/office/drawing/2014/main" id="{613672C4-9B08-4E24-A1E3-4A00D25B29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3833" y="1824567"/>
            <a:ext cx="10962216" cy="44174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Untertitel (Ebene 6)</a:t>
            </a:r>
          </a:p>
          <a:p>
            <a:pPr lvl="6"/>
            <a:r>
              <a:rPr lang="de-DE"/>
              <a:t>Legende fett (Ebene 7)</a:t>
            </a:r>
          </a:p>
          <a:p>
            <a:pPr lvl="7"/>
            <a:r>
              <a:rPr lang="de-DE"/>
              <a:t>Legende fett (Ebene 8)</a:t>
            </a:r>
          </a:p>
          <a:p>
            <a:pPr lvl="8"/>
            <a:r>
              <a:rPr lang="de-DE"/>
              <a:t>Leer ( Ebene 9)</a:t>
            </a:r>
            <a:endParaRPr lang="de-CH"/>
          </a:p>
        </p:txBody>
      </p:sp>
      <p:sp>
        <p:nvSpPr>
          <p:cNvPr id="70" name="Datumsplatzhalter 69">
            <a:extLst>
              <a:ext uri="{FF2B5EF4-FFF2-40B4-BE49-F238E27FC236}">
                <a16:creationId xmlns:a16="http://schemas.microsoft.com/office/drawing/2014/main" id="{C309DC2E-87D5-4449-A936-1C2E151F55B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4400" y="6417600"/>
            <a:ext cx="1440000" cy="24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133" kern="60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195D02-1D29-4E04-AC68-2D0D2269493C}" type="datetime1">
              <a:rPr lang="de-DE" kern="600" smtClean="0"/>
              <a:t>11.05.2023</a:t>
            </a:fld>
            <a:endParaRPr lang="de-CH" kern="600"/>
          </a:p>
        </p:txBody>
      </p:sp>
      <p:sp>
        <p:nvSpPr>
          <p:cNvPr id="71" name="Fußzeilenplatzhalter 70">
            <a:extLst>
              <a:ext uri="{FF2B5EF4-FFF2-40B4-BE49-F238E27FC236}">
                <a16:creationId xmlns:a16="http://schemas.microsoft.com/office/drawing/2014/main" id="{6005962A-7996-432B-9FEB-C4CA5481BF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54400" y="6417600"/>
            <a:ext cx="8083200" cy="24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1133" kern="60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CH" kern="600"/>
          </a:p>
        </p:txBody>
      </p:sp>
      <p:sp>
        <p:nvSpPr>
          <p:cNvPr id="72" name="Foliennummernplatzhalter 71">
            <a:extLst>
              <a:ext uri="{FF2B5EF4-FFF2-40B4-BE49-F238E27FC236}">
                <a16:creationId xmlns:a16="http://schemas.microsoft.com/office/drawing/2014/main" id="{B6AA729A-3E10-4A67-8F02-FD9D35495C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136052" y="6417600"/>
            <a:ext cx="1440001" cy="24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133" kern="60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84BE2A-AF72-474C-A580-796179F45542}" type="slidenum">
              <a:rPr lang="de-CH" smtClean="0"/>
              <a:pPr/>
              <a:t>‹Nr.›</a:t>
            </a:fld>
            <a:endParaRPr lang="de-CH" kern="600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88D863D5-A600-4FCA-B800-5DF04B79ED8C}"/>
              </a:ext>
            </a:extLst>
          </p:cNvPr>
          <p:cNvGrpSpPr/>
          <p:nvPr userDrawn="1"/>
        </p:nvGrpSpPr>
        <p:grpSpPr>
          <a:xfrm>
            <a:off x="12334299" y="313267"/>
            <a:ext cx="672000" cy="6239744"/>
            <a:chOff x="9250724" y="234950"/>
            <a:chExt cx="504000" cy="4679808"/>
          </a:xfrm>
        </p:grpSpPr>
        <p:sp>
          <p:nvSpPr>
            <p:cNvPr id="8" name="Ellipse 7">
              <a:extLst>
                <a:ext uri="{FF2B5EF4-FFF2-40B4-BE49-F238E27FC236}">
                  <a16:creationId xmlns:a16="http://schemas.microsoft.com/office/drawing/2014/main" id="{81C45A27-2A92-4C76-B0CF-64995D1937D0}"/>
                </a:ext>
              </a:extLst>
            </p:cNvPr>
            <p:cNvSpPr/>
            <p:nvPr/>
          </p:nvSpPr>
          <p:spPr>
            <a:xfrm>
              <a:off x="9250724" y="234950"/>
              <a:ext cx="504000" cy="504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/>
              <a:r>
                <a:rPr lang="de-DE" sz="733" kern="600" baseline="0"/>
                <a:t>Schiefergrau</a:t>
              </a:r>
            </a:p>
            <a:p>
              <a:pPr algn="ctr"/>
              <a:r>
                <a:rPr lang="de-DE" sz="733" kern="600"/>
                <a:t>117/133/146</a:t>
              </a:r>
              <a:endParaRPr lang="de-CH" sz="733" kern="600" baseline="0" err="1"/>
            </a:p>
          </p:txBody>
        </p:sp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B278AC61-4321-4B82-9F73-AAC1A6DF8CB0}"/>
                </a:ext>
              </a:extLst>
            </p:cNvPr>
            <p:cNvSpPr/>
            <p:nvPr/>
          </p:nvSpPr>
          <p:spPr>
            <a:xfrm>
              <a:off x="9250724" y="831494"/>
              <a:ext cx="504000" cy="504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/>
              <a:r>
                <a:rPr lang="de-DE" sz="733" kern="600" baseline="0"/>
                <a:t>Hellgrün</a:t>
              </a:r>
            </a:p>
            <a:p>
              <a:pPr algn="ctr"/>
              <a:r>
                <a:rPr lang="de-DE" sz="733" kern="600"/>
                <a:t>169/191/0</a:t>
              </a:r>
              <a:endParaRPr lang="de-CH" sz="733" kern="600" baseline="0" err="1"/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B752349B-CA81-4005-8C6C-C4EA5014D248}"/>
                </a:ext>
              </a:extLst>
            </p:cNvPr>
            <p:cNvSpPr/>
            <p:nvPr/>
          </p:nvSpPr>
          <p:spPr>
            <a:xfrm>
              <a:off x="9250724" y="1428038"/>
              <a:ext cx="504000" cy="5040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/>
              <a:r>
                <a:rPr lang="de-DE" sz="733" kern="600" baseline="0"/>
                <a:t>Hellblau</a:t>
              </a:r>
            </a:p>
            <a:p>
              <a:pPr algn="ctr"/>
              <a:r>
                <a:rPr lang="de-DE" sz="733" kern="600"/>
                <a:t>169/205/233</a:t>
              </a:r>
              <a:endParaRPr lang="de-CH" sz="733" kern="600" baseline="0" err="1"/>
            </a:p>
          </p:txBody>
        </p:sp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93535AF4-E7BE-43FA-B127-73AE8EA1620E}"/>
                </a:ext>
              </a:extLst>
            </p:cNvPr>
            <p:cNvSpPr/>
            <p:nvPr/>
          </p:nvSpPr>
          <p:spPr>
            <a:xfrm>
              <a:off x="9250724" y="2024582"/>
              <a:ext cx="504000" cy="5040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/>
              <a:r>
                <a:rPr lang="de-DE" sz="733" kern="600" baseline="0"/>
                <a:t>Dunkelgrün</a:t>
              </a:r>
            </a:p>
            <a:p>
              <a:pPr algn="ctr"/>
              <a:r>
                <a:rPr lang="de-DE" sz="733" kern="600"/>
                <a:t>80/116/47</a:t>
              </a:r>
              <a:endParaRPr lang="de-CH" sz="733" kern="600" baseline="0" err="1"/>
            </a:p>
          </p:txBody>
        </p:sp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9CC65B79-E3A8-4C67-9C7C-7E4DA190C809}"/>
                </a:ext>
              </a:extLst>
            </p:cNvPr>
            <p:cNvSpPr/>
            <p:nvPr/>
          </p:nvSpPr>
          <p:spPr>
            <a:xfrm>
              <a:off x="9250724" y="2621126"/>
              <a:ext cx="504000" cy="5040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/>
              <a:r>
                <a:rPr lang="de-DE" sz="733" kern="600" baseline="0"/>
                <a:t>Orange</a:t>
              </a:r>
            </a:p>
            <a:p>
              <a:pPr algn="ctr"/>
              <a:r>
                <a:rPr lang="de-DE" sz="733" kern="600"/>
                <a:t>222/112/0</a:t>
              </a:r>
              <a:endParaRPr lang="de-CH" sz="733" kern="600" baseline="0" err="1"/>
            </a:p>
          </p:txBody>
        </p:sp>
        <p:sp>
          <p:nvSpPr>
            <p:cNvPr id="13" name="Ellipse 12">
              <a:extLst>
                <a:ext uri="{FF2B5EF4-FFF2-40B4-BE49-F238E27FC236}">
                  <a16:creationId xmlns:a16="http://schemas.microsoft.com/office/drawing/2014/main" id="{1CA278D2-F082-459A-9521-F2204F7E84C4}"/>
                </a:ext>
              </a:extLst>
            </p:cNvPr>
            <p:cNvSpPr/>
            <p:nvPr/>
          </p:nvSpPr>
          <p:spPr>
            <a:xfrm>
              <a:off x="9250724" y="3217670"/>
              <a:ext cx="504000" cy="50400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/>
              <a:r>
                <a:rPr lang="de-DE" sz="733" kern="600" baseline="0"/>
                <a:t>Rot</a:t>
              </a:r>
            </a:p>
            <a:p>
              <a:pPr algn="ctr"/>
              <a:r>
                <a:rPr lang="de-DE" sz="733" kern="600"/>
                <a:t>179/25/57</a:t>
              </a:r>
              <a:endParaRPr lang="de-CH" sz="733" kern="600" baseline="0" err="1"/>
            </a:p>
          </p:txBody>
        </p:sp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id="{E52693F3-ADAB-4260-A2DF-5D1BBFDFBF40}"/>
                </a:ext>
              </a:extLst>
            </p:cNvPr>
            <p:cNvSpPr/>
            <p:nvPr/>
          </p:nvSpPr>
          <p:spPr>
            <a:xfrm>
              <a:off x="9250724" y="3814214"/>
              <a:ext cx="504000" cy="5040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/>
              <a:r>
                <a:rPr lang="de-DE" sz="733" kern="600" baseline="0"/>
                <a:t>Bordeaux</a:t>
              </a:r>
            </a:p>
            <a:p>
              <a:pPr algn="ctr"/>
              <a:r>
                <a:rPr lang="de-DE" sz="733" kern="600"/>
                <a:t>111/39/63</a:t>
              </a:r>
              <a:endParaRPr lang="de-CH" sz="733" kern="600" baseline="0" err="1"/>
            </a:p>
          </p:txBody>
        </p: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E103745E-CC8C-4036-BB7D-F8ECF68EE973}"/>
                </a:ext>
              </a:extLst>
            </p:cNvPr>
            <p:cNvSpPr/>
            <p:nvPr/>
          </p:nvSpPr>
          <p:spPr>
            <a:xfrm>
              <a:off x="9250724" y="4410758"/>
              <a:ext cx="504000" cy="5040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/>
              <a:r>
                <a:rPr lang="de-DE" sz="733" kern="600" baseline="0"/>
                <a:t>Gelb</a:t>
              </a:r>
            </a:p>
            <a:p>
              <a:pPr algn="ctr"/>
              <a:r>
                <a:rPr lang="de-DE" sz="733" kern="600"/>
                <a:t>244/209/0</a:t>
              </a:r>
              <a:endParaRPr lang="de-CH" sz="733" kern="600" baseline="0" err="1"/>
            </a:p>
          </p:txBody>
        </p:sp>
      </p:grpSp>
    </p:spTree>
    <p:extLst>
      <p:ext uri="{BB962C8B-B14F-4D97-AF65-F5344CB8AC3E}">
        <p14:creationId xmlns:p14="http://schemas.microsoft.com/office/powerpoint/2010/main" val="36025368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  <p:sldLayoutId id="2147483747" r:id="rId12"/>
    <p:sldLayoutId id="2147483748" r:id="rId13"/>
    <p:sldLayoutId id="2147483749" r:id="rId14"/>
    <p:sldLayoutId id="2147483750" r:id="rId15"/>
    <p:sldLayoutId id="2147483751" r:id="rId16"/>
    <p:sldLayoutId id="2147483752" r:id="rId17"/>
    <p:sldLayoutId id="2147483753" r:id="rId18"/>
    <p:sldLayoutId id="2147483754" r:id="rId19"/>
    <p:sldLayoutId id="2147483755" r:id="rId20"/>
    <p:sldLayoutId id="2147483756" r:id="rId21"/>
    <p:sldLayoutId id="2147483757" r:id="rId22"/>
    <p:sldLayoutId id="2147483758" r:id="rId23"/>
    <p:sldLayoutId id="2147483759" r:id="rId24"/>
    <p:sldLayoutId id="2147483760" r:id="rId25"/>
    <p:sldLayoutId id="2147483761" r:id="rId26"/>
    <p:sldLayoutId id="2147483762" r:id="rId27"/>
    <p:sldLayoutId id="2147483763" r:id="rId28"/>
    <p:sldLayoutId id="2147483764" r:id="rId29"/>
    <p:sldLayoutId id="2147483765" r:id="rId30"/>
    <p:sldLayoutId id="2147483766" r:id="rId31"/>
    <p:sldLayoutId id="2147483767" r:id="rId32"/>
    <p:sldLayoutId id="2147483768" r:id="rId33"/>
  </p:sldLayoutIdLst>
  <p:hf sldNum="0" hdr="0" ftr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3400" b="1" kern="600" cap="none" baseline="0">
          <a:solidFill>
            <a:schemeClr val="accent2"/>
          </a:solidFill>
          <a:latin typeface="Suedtirol Next TT" panose="02000000000000000000" pitchFamily="2" charset="0"/>
          <a:ea typeface="+mj-ea"/>
          <a:cs typeface="+mj-cs"/>
        </a:defRPr>
      </a:lvl1pPr>
    </p:titleStyle>
    <p:bodyStyle>
      <a:lvl1pPr marL="0" indent="0" algn="l" defTabSz="307184" rtl="0" eaLnBrk="1" latinLnBrk="0" hangingPunct="1">
        <a:lnSpc>
          <a:spcPts val="3000"/>
        </a:lnSpc>
        <a:spcBef>
          <a:spcPts val="0"/>
        </a:spcBef>
        <a:buFont typeface="Arial" panose="020B0604020202020204" pitchFamily="34" charset="0"/>
        <a:buNone/>
        <a:defRPr sz="2133" kern="600" baseline="0">
          <a:solidFill>
            <a:schemeClr val="tx1"/>
          </a:solidFill>
          <a:latin typeface="+mn-lt"/>
          <a:ea typeface="+mn-ea"/>
          <a:cs typeface="+mn-cs"/>
        </a:defRPr>
      </a:lvl1pPr>
      <a:lvl2pPr marL="307184" indent="-307184" algn="l" defTabSz="307184" rtl="0" eaLnBrk="1" latinLnBrk="0" hangingPunct="1">
        <a:lnSpc>
          <a:spcPts val="3000"/>
        </a:lnSpc>
        <a:spcBef>
          <a:spcPts val="0"/>
        </a:spcBef>
        <a:buClrTx/>
        <a:buSzPct val="110000"/>
        <a:buFont typeface="Source Sans Pro Semibold" panose="020B0603030403020204" pitchFamily="34" charset="0"/>
        <a:buChar char="›"/>
        <a:defRPr sz="2133" kern="600" baseline="0">
          <a:solidFill>
            <a:schemeClr val="tx1"/>
          </a:solidFill>
          <a:latin typeface="+mn-lt"/>
          <a:ea typeface="+mn-ea"/>
          <a:cs typeface="+mn-cs"/>
        </a:defRPr>
      </a:lvl2pPr>
      <a:lvl3pPr marL="614370" indent="-307184" algn="l" defTabSz="307184" rtl="0" eaLnBrk="1" latinLnBrk="0" hangingPunct="1">
        <a:lnSpc>
          <a:spcPts val="3000"/>
        </a:lnSpc>
        <a:spcBef>
          <a:spcPts val="0"/>
        </a:spcBef>
        <a:buClrTx/>
        <a:buSzPct val="110000"/>
        <a:buFont typeface="Source Sans Pro Semibold" panose="020B0603030403020204" pitchFamily="34" charset="0"/>
        <a:buChar char="›"/>
        <a:defRPr sz="2133" kern="600" baseline="0">
          <a:solidFill>
            <a:schemeClr val="tx1"/>
          </a:solidFill>
          <a:latin typeface="+mn-lt"/>
          <a:ea typeface="+mn-ea"/>
          <a:cs typeface="+mn-cs"/>
        </a:defRPr>
      </a:lvl3pPr>
      <a:lvl4pPr marL="614370" indent="-614370" algn="l" defTabSz="307184" rtl="0" eaLnBrk="1" latinLnBrk="0" hangingPunct="1">
        <a:lnSpc>
          <a:spcPts val="3000"/>
        </a:lnSpc>
        <a:spcBef>
          <a:spcPts val="0"/>
        </a:spcBef>
        <a:buFont typeface="+mj-lt"/>
        <a:buAutoNum type="arabicPeriod"/>
        <a:defRPr sz="2133" kern="600" baseline="0">
          <a:solidFill>
            <a:schemeClr val="tx1"/>
          </a:solidFill>
          <a:latin typeface="+mn-lt"/>
          <a:ea typeface="+mn-ea"/>
          <a:cs typeface="+mn-cs"/>
        </a:defRPr>
      </a:lvl4pPr>
      <a:lvl5pPr marL="1228739" indent="-614370" algn="l" defTabSz="307184" rtl="0" eaLnBrk="1" latinLnBrk="0" hangingPunct="1">
        <a:lnSpc>
          <a:spcPts val="3000"/>
        </a:lnSpc>
        <a:spcBef>
          <a:spcPts val="0"/>
        </a:spcBef>
        <a:buFont typeface="+mj-lt"/>
        <a:buAutoNum type="alphaLcPeriod"/>
        <a:defRPr sz="2133" kern="60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354" rtl="0" eaLnBrk="1" latinLnBrk="0" hangingPunct="1">
        <a:lnSpc>
          <a:spcPts val="3000"/>
        </a:lnSpc>
        <a:spcBef>
          <a:spcPts val="3000"/>
        </a:spcBef>
        <a:buFont typeface="Arial" panose="020B0604020202020204" pitchFamily="34" charset="0"/>
        <a:buNone/>
        <a:defRPr sz="2133" kern="600" baseline="0">
          <a:solidFill>
            <a:schemeClr val="tx1"/>
          </a:solidFill>
          <a:latin typeface="+mj-lt"/>
          <a:ea typeface="+mn-ea"/>
          <a:cs typeface="+mn-cs"/>
        </a:defRPr>
      </a:lvl6pPr>
      <a:lvl7pPr marL="0" indent="0" algn="l" defTabSz="914354" rtl="0" eaLnBrk="1" latinLnBrk="0" hangingPunct="1">
        <a:lnSpc>
          <a:spcPts val="2067"/>
        </a:lnSpc>
        <a:spcBef>
          <a:spcPts val="0"/>
        </a:spcBef>
        <a:buFont typeface="Arial" panose="020B0604020202020204" pitchFamily="34" charset="0"/>
        <a:buNone/>
        <a:defRPr sz="1533" kern="600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54" rtl="0" eaLnBrk="1" latinLnBrk="0" hangingPunct="1">
        <a:lnSpc>
          <a:spcPts val="2067"/>
        </a:lnSpc>
        <a:spcBef>
          <a:spcPts val="0"/>
        </a:spcBef>
        <a:buFont typeface="Arial" panose="020B0604020202020204" pitchFamily="34" charset="0"/>
        <a:buNone/>
        <a:defRPr sz="1533" kern="6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54" rtl="0" eaLnBrk="1" latinLnBrk="0" hangingPunct="1">
        <a:lnSpc>
          <a:spcPts val="3000"/>
        </a:lnSpc>
        <a:spcBef>
          <a:spcPts val="0"/>
        </a:spcBef>
        <a:buFont typeface="Arial" panose="020B0604020202020204" pitchFamily="34" charset="0"/>
        <a:buNone/>
        <a:defRPr sz="2133" kern="6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469">
          <p15:clr>
            <a:srgbClr val="F26B43"/>
          </p15:clr>
        </p15:guide>
        <p15:guide id="3" orient="horz" pos="3095">
          <p15:clr>
            <a:srgbClr val="F26B43"/>
          </p15:clr>
        </p15:guide>
        <p15:guide id="4" pos="290">
          <p15:clr>
            <a:srgbClr val="F26B43"/>
          </p15:clr>
        </p15:guide>
        <p15:guide id="7" orient="horz" pos="2949">
          <p15:clr>
            <a:srgbClr val="F26B43"/>
          </p15:clr>
        </p15:guide>
        <p15:guide id="10" pos="3743">
          <p15:clr>
            <a:srgbClr val="F26B43"/>
          </p15:clr>
        </p15:guide>
        <p15:guide id="12" pos="2016">
          <p15:clr>
            <a:srgbClr val="F26B43"/>
          </p15:clr>
        </p15:guide>
        <p15:guide id="13" orient="horz" pos="148">
          <p15:clr>
            <a:srgbClr val="F26B43"/>
          </p15:clr>
        </p15:guide>
        <p15:guide id="15" orient="horz" pos="572">
          <p15:clr>
            <a:srgbClr val="F26B43"/>
          </p15:clr>
        </p15:guide>
        <p15:guide id="16" orient="horz" pos="86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svg"/><Relationship Id="rId7" Type="http://schemas.openxmlformats.org/officeDocument/2006/relationships/image" Target="../media/image19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5" Type="http://schemas.openxmlformats.org/officeDocument/2006/relationships/image" Target="../media/image17.svg"/><Relationship Id="rId10" Type="http://schemas.openxmlformats.org/officeDocument/2006/relationships/image" Target="../media/image22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>
            <a:extLst>
              <a:ext uri="{FF2B5EF4-FFF2-40B4-BE49-F238E27FC236}">
                <a16:creationId xmlns:a16="http://schemas.microsoft.com/office/drawing/2014/main" id="{70B7673E-8139-4704-A800-3BAE1CBEE16D}"/>
              </a:ext>
            </a:extLst>
          </p:cNvPr>
          <p:cNvSpPr txBox="1"/>
          <p:nvPr/>
        </p:nvSpPr>
        <p:spPr>
          <a:xfrm>
            <a:off x="5025004" y="1238888"/>
            <a:ext cx="6972319" cy="2339017"/>
          </a:xfrm>
          <a:prstGeom prst="rect">
            <a:avLst/>
          </a:prstGeom>
        </p:spPr>
        <p:txBody>
          <a:bodyPr vert="horz" lIns="274320" tIns="182880" rIns="274320" bIns="182880" rtlCol="0" anchor="ctr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0" i="0" u="none" strike="noStrike" kern="1200" cap="all" spc="2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agriculture</a:t>
            </a:r>
            <a:r>
              <a:rPr kumimoji="0" lang="de-DE" sz="3200" b="0" i="0" u="none" strike="noStrike" kern="1200" cap="all" spc="2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 2030: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all" spc="2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South </a:t>
            </a:r>
            <a:r>
              <a:rPr kumimoji="0" lang="de-DE" sz="2400" b="0" i="0" u="none" strike="noStrike" kern="1200" cap="all" spc="2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tyrol‘s</a:t>
            </a:r>
            <a:r>
              <a:rPr kumimoji="0" lang="de-DE" sz="2400" b="0" i="0" u="none" strike="noStrike" kern="1200" cap="all" spc="2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 Path </a:t>
            </a:r>
            <a:r>
              <a:rPr kumimoji="0" lang="de-DE" sz="2400" b="0" i="0" u="none" strike="noStrike" kern="1200" cap="all" spc="2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to</a:t>
            </a:r>
            <a:r>
              <a:rPr lang="de-DE" sz="2400" cap="all" spc="200" dirty="0">
                <a:solidFill>
                  <a:prstClr val="white"/>
                </a:solidFill>
                <a:latin typeface="Gill Sans MT" panose="020B0502020104020203"/>
              </a:rPr>
              <a:t> </a:t>
            </a:r>
            <a:r>
              <a:rPr lang="de-DE" sz="2400" cap="all" spc="200" dirty="0" err="1">
                <a:solidFill>
                  <a:prstClr val="white"/>
                </a:solidFill>
                <a:latin typeface="Gill Sans MT" panose="020B0502020104020203"/>
              </a:rPr>
              <a:t>sustainability</a:t>
            </a:r>
            <a:endParaRPr kumimoji="0" lang="de-DE" sz="2400" b="0" i="0" u="none" strike="noStrike" kern="1200" cap="all" spc="2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endParaRPr lang="de-DE" sz="3200" cap="all" spc="200" dirty="0">
              <a:solidFill>
                <a:prstClr val="white"/>
              </a:solidFill>
              <a:latin typeface="Gill Sans MT" panose="020B0502020104020203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de-DE" cap="all" spc="200" dirty="0">
              <a:solidFill>
                <a:prstClr val="white"/>
              </a:solidFill>
              <a:latin typeface="Gill Sans MT" panose="020B0502020104020203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A36F5BA-E06D-447E-80DB-FF8628AC11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9155" y="0"/>
            <a:ext cx="465429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pic>
        <p:nvPicPr>
          <p:cNvPr id="6" name="Grafik 5" descr="Apfel">
            <a:extLst>
              <a:ext uri="{FF2B5EF4-FFF2-40B4-BE49-F238E27FC236}">
                <a16:creationId xmlns:a16="http://schemas.microsoft.com/office/drawing/2014/main" id="{73D793DC-FE4F-42A2-90E0-F73E83676E9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07212" y="490790"/>
            <a:ext cx="1801563" cy="1801563"/>
          </a:xfrm>
          <a:prstGeom prst="rect">
            <a:avLst/>
          </a:prstGeom>
        </p:spPr>
      </p:pic>
      <p:pic>
        <p:nvPicPr>
          <p:cNvPr id="8" name="Grafik 7" descr="Trauben">
            <a:extLst>
              <a:ext uri="{FF2B5EF4-FFF2-40B4-BE49-F238E27FC236}">
                <a16:creationId xmlns:a16="http://schemas.microsoft.com/office/drawing/2014/main" id="{7D4B14FD-559D-4365-9071-557A408BE58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411878" y="2458743"/>
            <a:ext cx="1792232" cy="1792232"/>
          </a:xfrm>
          <a:prstGeom prst="rect">
            <a:avLst/>
          </a:prstGeom>
        </p:spPr>
      </p:pic>
      <p:pic>
        <p:nvPicPr>
          <p:cNvPr id="10" name="Grafik 9" descr="Kuh">
            <a:extLst>
              <a:ext uri="{FF2B5EF4-FFF2-40B4-BE49-F238E27FC236}">
                <a16:creationId xmlns:a16="http://schemas.microsoft.com/office/drawing/2014/main" id="{85C57CA6-2B29-4231-BF06-CDED79283DB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411878" y="4417365"/>
            <a:ext cx="1792232" cy="1792232"/>
          </a:xfrm>
          <a:prstGeom prst="rect">
            <a:avLst/>
          </a:prstGeom>
        </p:spPr>
      </p:pic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8C585DDF-476A-4DD3-92E0-F26C3EAE9C47}"/>
              </a:ext>
            </a:extLst>
          </p:cNvPr>
          <p:cNvCxnSpPr>
            <a:cxnSpLocks/>
          </p:cNvCxnSpPr>
          <p:nvPr/>
        </p:nvCxnSpPr>
        <p:spPr>
          <a:xfrm flipV="1">
            <a:off x="6444244" y="3573711"/>
            <a:ext cx="4133841" cy="1"/>
          </a:xfrm>
          <a:prstGeom prst="line">
            <a:avLst/>
          </a:prstGeom>
          <a:ln w="28575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7F49A53D-C910-4E20-8A2F-44A6CE7DAFC0}"/>
              </a:ext>
            </a:extLst>
          </p:cNvPr>
          <p:cNvSpPr txBox="1"/>
          <p:nvPr/>
        </p:nvSpPr>
        <p:spPr>
          <a:xfrm>
            <a:off x="5286793" y="4051191"/>
            <a:ext cx="6710530" cy="892001"/>
          </a:xfrm>
          <a:prstGeom prst="rect">
            <a:avLst/>
          </a:prstGeom>
        </p:spPr>
        <p:txBody>
          <a:bodyPr vert="horz" lIns="274320" tIns="182880" rIns="274320" bIns="182880" rtlCol="0" anchor="ctr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e-DE" cap="all" spc="200" dirty="0" err="1">
                <a:solidFill>
                  <a:prstClr val="white"/>
                </a:solidFill>
                <a:latin typeface="Gill Sans MT" panose="020B0502020104020203"/>
              </a:rPr>
              <a:t>Presentation</a:t>
            </a:r>
            <a:r>
              <a:rPr lang="de-DE" cap="all" spc="200" dirty="0">
                <a:solidFill>
                  <a:prstClr val="white"/>
                </a:solidFill>
                <a:latin typeface="Gill Sans MT" panose="020B0502020104020203"/>
              </a:rPr>
              <a:t> </a:t>
            </a:r>
            <a:r>
              <a:rPr lang="de-DE" cap="all" spc="200" dirty="0" err="1">
                <a:solidFill>
                  <a:prstClr val="white"/>
                </a:solidFill>
                <a:latin typeface="Gill Sans MT" panose="020B0502020104020203"/>
              </a:rPr>
              <a:t>of</a:t>
            </a:r>
            <a:r>
              <a:rPr lang="de-DE" cap="all" spc="200" dirty="0">
                <a:solidFill>
                  <a:prstClr val="white"/>
                </a:solidFill>
                <a:latin typeface="Gill Sans MT" panose="020B0502020104020203"/>
              </a:rPr>
              <a:t> </a:t>
            </a:r>
            <a:r>
              <a:rPr lang="de-DE" cap="all" spc="200" dirty="0" err="1">
                <a:solidFill>
                  <a:prstClr val="white"/>
                </a:solidFill>
                <a:latin typeface="Gill Sans MT" panose="020B0502020104020203"/>
              </a:rPr>
              <a:t>the</a:t>
            </a:r>
            <a:r>
              <a:rPr lang="de-DE" cap="all" spc="200" dirty="0">
                <a:solidFill>
                  <a:prstClr val="white"/>
                </a:solidFill>
                <a:latin typeface="Gill Sans MT" panose="020B0502020104020203"/>
              </a:rPr>
              <a:t> </a:t>
            </a:r>
            <a:r>
              <a:rPr lang="de-DE" cap="all" spc="200" dirty="0" err="1">
                <a:solidFill>
                  <a:prstClr val="white"/>
                </a:solidFill>
                <a:latin typeface="Gill Sans MT" panose="020B0502020104020203"/>
              </a:rPr>
              <a:t>action</a:t>
            </a:r>
            <a:r>
              <a:rPr lang="de-DE" cap="all" spc="200" dirty="0">
                <a:solidFill>
                  <a:prstClr val="white"/>
                </a:solidFill>
                <a:latin typeface="Gill Sans MT" panose="020B0502020104020203"/>
              </a:rPr>
              <a:t> plan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de-DE" cap="all" spc="200" dirty="0">
              <a:solidFill>
                <a:prstClr val="white"/>
              </a:solidFill>
              <a:latin typeface="Gill Sans MT" panose="020B0502020104020203"/>
            </a:endParaRPr>
          </a:p>
        </p:txBody>
      </p:sp>
      <p:pic>
        <p:nvPicPr>
          <p:cNvPr id="11" name="Grafik 10" descr="Ein Bild, das Kreis, Text, Grafiken, Schrift enthält.&#10;&#10;Automatisch generierte Beschreibung">
            <a:extLst>
              <a:ext uri="{FF2B5EF4-FFF2-40B4-BE49-F238E27FC236}">
                <a16:creationId xmlns:a16="http://schemas.microsoft.com/office/drawing/2014/main" id="{F85DA240-47DF-6D74-5877-9807F25AF42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8085" y="5169869"/>
            <a:ext cx="1477332" cy="1477332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46BDEFDF-50E7-FD18-CF9E-FF8F7EE352E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2530" y="2292352"/>
            <a:ext cx="4511449" cy="2195298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415DCFF9-DD0B-02B3-1CF1-46A7493F7E6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2530" y="96103"/>
            <a:ext cx="4507833" cy="211258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E4A2A6E3-22FF-EFEF-F85D-0CB69AAF7B0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8912" y="4571321"/>
            <a:ext cx="4511449" cy="2203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59142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E7E0651-62A4-4016-87D1-553A082B7B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918" y="228507"/>
            <a:ext cx="11101916" cy="1129011"/>
          </a:xfrm>
        </p:spPr>
        <p:txBody>
          <a:bodyPr>
            <a:normAutofit fontScale="90000"/>
          </a:bodyPr>
          <a:lstStyle/>
          <a:p>
            <a:r>
              <a:rPr lang="de-DE" dirty="0" err="1">
                <a:solidFill>
                  <a:schemeClr val="accent2">
                    <a:lumMod val="50000"/>
                  </a:schemeClr>
                </a:solidFill>
              </a:rPr>
              <a:t>agriculture</a:t>
            </a:r>
            <a:r>
              <a:rPr lang="de-DE" dirty="0">
                <a:solidFill>
                  <a:schemeClr val="accent2">
                    <a:lumMod val="50000"/>
                  </a:schemeClr>
                </a:solidFill>
              </a:rPr>
              <a:t> 2030:</a:t>
            </a:r>
            <a:br>
              <a:rPr lang="de-DE" dirty="0">
                <a:solidFill>
                  <a:schemeClr val="accent2">
                    <a:lumMod val="50000"/>
                  </a:schemeClr>
                </a:solidFill>
              </a:rPr>
            </a:br>
            <a:r>
              <a:rPr lang="de-DE" dirty="0" err="1">
                <a:solidFill>
                  <a:schemeClr val="accent2">
                    <a:lumMod val="50000"/>
                  </a:schemeClr>
                </a:solidFill>
              </a:rPr>
              <a:t>south</a:t>
            </a:r>
            <a:r>
              <a:rPr lang="de-DE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accent2">
                    <a:lumMod val="50000"/>
                  </a:schemeClr>
                </a:solidFill>
              </a:rPr>
              <a:t>tyrol‘s</a:t>
            </a:r>
            <a:r>
              <a:rPr lang="de-DE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accent2">
                    <a:lumMod val="50000"/>
                  </a:schemeClr>
                </a:solidFill>
              </a:rPr>
              <a:t>path</a:t>
            </a:r>
            <a:r>
              <a:rPr lang="de-DE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accent2">
                    <a:lumMod val="50000"/>
                  </a:schemeClr>
                </a:solidFill>
              </a:rPr>
              <a:t>to</a:t>
            </a:r>
            <a:r>
              <a:rPr lang="de-DE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accent2">
                    <a:lumMod val="50000"/>
                  </a:schemeClr>
                </a:solidFill>
              </a:rPr>
              <a:t>sustainability</a:t>
            </a:r>
            <a:endParaRPr lang="de-DE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1B147A8C-68B7-DDBB-2D8E-6A42356C0F98}"/>
              </a:ext>
            </a:extLst>
          </p:cNvPr>
          <p:cNvSpPr txBox="1"/>
          <p:nvPr/>
        </p:nvSpPr>
        <p:spPr>
          <a:xfrm>
            <a:off x="308537" y="1960676"/>
            <a:ext cx="184110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>
                <a:solidFill>
                  <a:schemeClr val="accent2">
                    <a:lumMod val="50000"/>
                  </a:schemeClr>
                </a:solidFill>
              </a:rPr>
              <a:t>Sustainability</a:t>
            </a:r>
            <a:r>
              <a:rPr lang="de-DE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accent2">
                    <a:lumMod val="50000"/>
                  </a:schemeClr>
                </a:solidFill>
              </a:rPr>
              <a:t>concepts</a:t>
            </a:r>
            <a:r>
              <a:rPr lang="de-DE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accent2">
                    <a:lumMod val="50000"/>
                  </a:schemeClr>
                </a:solidFill>
              </a:rPr>
              <a:t>of</a:t>
            </a:r>
            <a:r>
              <a:rPr lang="de-DE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accent2">
                    <a:lumMod val="50000"/>
                  </a:schemeClr>
                </a:solidFill>
              </a:rPr>
              <a:t>the</a:t>
            </a:r>
            <a:r>
              <a:rPr lang="de-DE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accent2">
                    <a:lumMod val="50000"/>
                  </a:schemeClr>
                </a:solidFill>
              </a:rPr>
              <a:t>sektors</a:t>
            </a:r>
            <a:r>
              <a:rPr lang="de-DE" dirty="0">
                <a:solidFill>
                  <a:schemeClr val="accent2">
                    <a:lumMod val="50000"/>
                  </a:schemeClr>
                </a:solidFill>
              </a:rPr>
              <a:t> 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8F988EB9-7384-1450-1C89-3C8F508A3AB0}"/>
              </a:ext>
            </a:extLst>
          </p:cNvPr>
          <p:cNvSpPr txBox="1"/>
          <p:nvPr/>
        </p:nvSpPr>
        <p:spPr>
          <a:xfrm>
            <a:off x="337809" y="5096555"/>
            <a:ext cx="22123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>
                <a:solidFill>
                  <a:schemeClr val="accent2">
                    <a:lumMod val="50000"/>
                  </a:schemeClr>
                </a:solidFill>
              </a:rPr>
              <a:t>Strategy</a:t>
            </a:r>
            <a:r>
              <a:rPr lang="de-DE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accent2">
                    <a:lumMod val="50000"/>
                  </a:schemeClr>
                </a:solidFill>
              </a:rPr>
              <a:t>paper</a:t>
            </a:r>
            <a:r>
              <a:rPr lang="de-DE" dirty="0">
                <a:solidFill>
                  <a:schemeClr val="accent2">
                    <a:lumMod val="50000"/>
                  </a:schemeClr>
                </a:solidFill>
              </a:rPr>
              <a:t> AGRICULTURE 2030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F8A5D9B8-30A0-E8A4-595F-97A45CE981ED}"/>
              </a:ext>
            </a:extLst>
          </p:cNvPr>
          <p:cNvSpPr txBox="1"/>
          <p:nvPr/>
        </p:nvSpPr>
        <p:spPr>
          <a:xfrm>
            <a:off x="4918526" y="5111756"/>
            <a:ext cx="25687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accent2">
                    <a:lumMod val="50000"/>
                  </a:schemeClr>
                </a:solidFill>
              </a:rPr>
              <a:t>Guiding </a:t>
            </a:r>
            <a:r>
              <a:rPr lang="de-DE" dirty="0" err="1">
                <a:solidFill>
                  <a:schemeClr val="accent2">
                    <a:lumMod val="50000"/>
                  </a:schemeClr>
                </a:solidFill>
              </a:rPr>
              <a:t>Principles</a:t>
            </a:r>
            <a:r>
              <a:rPr lang="de-DE" dirty="0">
                <a:solidFill>
                  <a:schemeClr val="accent2">
                    <a:lumMod val="50000"/>
                  </a:schemeClr>
                </a:solidFill>
              </a:rPr>
              <a:t> and </a:t>
            </a:r>
            <a:r>
              <a:rPr lang="de-DE" dirty="0" err="1">
                <a:solidFill>
                  <a:schemeClr val="accent2">
                    <a:lumMod val="50000"/>
                  </a:schemeClr>
                </a:solidFill>
              </a:rPr>
              <a:t>Lighthouse</a:t>
            </a:r>
            <a:r>
              <a:rPr lang="de-DE" dirty="0">
                <a:solidFill>
                  <a:schemeClr val="accent2">
                    <a:lumMod val="50000"/>
                  </a:schemeClr>
                </a:solidFill>
              </a:rPr>
              <a:t> Projects des Südtiroler Bauernbundes </a:t>
            </a:r>
          </a:p>
        </p:txBody>
      </p:sp>
      <p:pic>
        <p:nvPicPr>
          <p:cNvPr id="17" name="Grafik 16" descr="Ein Bild, das draußen, Person, Kleidung, Himmel enthält.&#10;&#10;Automatisch generierte Beschreibung">
            <a:extLst>
              <a:ext uri="{FF2B5EF4-FFF2-40B4-BE49-F238E27FC236}">
                <a16:creationId xmlns:a16="http://schemas.microsoft.com/office/drawing/2014/main" id="{5EF4A820-A172-4DE9-ACC9-C6BB65FFB13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457" b="16457"/>
          <a:stretch/>
        </p:blipFill>
        <p:spPr>
          <a:xfrm>
            <a:off x="2764839" y="4617353"/>
            <a:ext cx="1724403" cy="1859647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9D7ED6C7-A115-BE74-8945-B2B7EFC544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49306" y="1679780"/>
            <a:ext cx="1841106" cy="2063820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0A85569C-CA46-CE3F-2658-07B835E4B06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11628" y="1669272"/>
            <a:ext cx="1643138" cy="2109142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2040CA13-30BE-EBEA-9FA6-B9C84E0E163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67325" y="1679780"/>
            <a:ext cx="3167390" cy="2063820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27390A94-243C-C6E0-9B88-549FE7580CB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34455" y="5005846"/>
            <a:ext cx="3020311" cy="1129011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3E9E780C-55DA-18A6-3652-BA967BCC191B}"/>
              </a:ext>
            </a:extLst>
          </p:cNvPr>
          <p:cNvSpPr txBox="1"/>
          <p:nvPr/>
        </p:nvSpPr>
        <p:spPr>
          <a:xfrm>
            <a:off x="2388285" y="3856997"/>
            <a:ext cx="27631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accent2">
                    <a:lumMod val="50000"/>
                  </a:schemeClr>
                </a:solidFill>
              </a:rPr>
              <a:t>South </a:t>
            </a:r>
            <a:r>
              <a:rPr lang="de-DE" dirty="0" err="1">
                <a:solidFill>
                  <a:schemeClr val="accent2">
                    <a:lumMod val="50000"/>
                  </a:schemeClr>
                </a:solidFill>
              </a:rPr>
              <a:t>Tyrolean</a:t>
            </a:r>
            <a:r>
              <a:rPr lang="de-DE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accent2">
                    <a:lumMod val="50000"/>
                  </a:schemeClr>
                </a:solidFill>
              </a:rPr>
              <a:t>Wine</a:t>
            </a:r>
            <a:r>
              <a:rPr lang="de-DE" dirty="0">
                <a:solidFill>
                  <a:schemeClr val="accent2">
                    <a:lumMod val="50000"/>
                  </a:schemeClr>
                </a:solidFill>
              </a:rPr>
              <a:t> Agenda 2030 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6464BC8-10B3-ED7F-0CBD-1288A8FDB5AD}"/>
              </a:ext>
            </a:extLst>
          </p:cNvPr>
          <p:cNvSpPr txBox="1"/>
          <p:nvPr/>
        </p:nvSpPr>
        <p:spPr>
          <a:xfrm>
            <a:off x="5469446" y="3838046"/>
            <a:ext cx="27631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accent2">
                    <a:lumMod val="50000"/>
                  </a:schemeClr>
                </a:solidFill>
              </a:rPr>
              <a:t>Sustainapple</a:t>
            </a:r>
            <a:endParaRPr lang="de-DE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AAAB2CD7-1D32-CCEA-B9C9-A4488E52C33E}"/>
              </a:ext>
            </a:extLst>
          </p:cNvPr>
          <p:cNvSpPr txBox="1"/>
          <p:nvPr/>
        </p:nvSpPr>
        <p:spPr>
          <a:xfrm>
            <a:off x="8550607" y="3905502"/>
            <a:ext cx="27631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accent2">
                    <a:lumMod val="50000"/>
                  </a:schemeClr>
                </a:solidFill>
              </a:rPr>
              <a:t>Sustainability</a:t>
            </a:r>
            <a:r>
              <a:rPr lang="de-DE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accent2">
                    <a:lumMod val="50000"/>
                  </a:schemeClr>
                </a:solidFill>
              </a:rPr>
              <a:t>report</a:t>
            </a:r>
            <a:r>
              <a:rPr lang="de-DE" dirty="0">
                <a:solidFill>
                  <a:schemeClr val="accent2">
                    <a:lumMod val="50000"/>
                  </a:schemeClr>
                </a:solidFill>
              </a:rPr>
              <a:t> Milk</a:t>
            </a:r>
          </a:p>
        </p:txBody>
      </p:sp>
    </p:spTree>
    <p:extLst>
      <p:ext uri="{BB962C8B-B14F-4D97-AF65-F5344CB8AC3E}">
        <p14:creationId xmlns:p14="http://schemas.microsoft.com/office/powerpoint/2010/main" val="3788970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6A0FC8D-A7C5-4A02-828B-7E50ACEFC7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8744" y="307079"/>
            <a:ext cx="10674512" cy="1223145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de-DE" dirty="0">
                <a:solidFill>
                  <a:schemeClr val="accent2">
                    <a:lumMod val="50000"/>
                  </a:schemeClr>
                </a:solidFill>
              </a:rPr>
              <a:t>Action plan </a:t>
            </a:r>
            <a:r>
              <a:rPr lang="de-DE" dirty="0" err="1">
                <a:solidFill>
                  <a:schemeClr val="accent2">
                    <a:lumMod val="50000"/>
                  </a:schemeClr>
                </a:solidFill>
              </a:rPr>
              <a:t>agriculture</a:t>
            </a:r>
            <a:r>
              <a:rPr lang="de-DE" dirty="0">
                <a:solidFill>
                  <a:schemeClr val="accent2">
                    <a:lumMod val="50000"/>
                  </a:schemeClr>
                </a:solidFill>
              </a:rPr>
              <a:t> 2030</a:t>
            </a:r>
            <a:endParaRPr lang="it-IT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B98881A-61AF-4127-A102-EDDD4E3C68E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8744" y="1828800"/>
            <a:ext cx="10674512" cy="4722121"/>
          </a:xfrm>
          <a:ln>
            <a:solidFill>
              <a:schemeClr val="accent1">
                <a:lumMod val="50000"/>
              </a:schemeClr>
            </a:solidFill>
          </a:ln>
        </p:spPr>
        <p:txBody>
          <a:bodyPr>
            <a:noAutofit/>
          </a:bodyPr>
          <a:lstStyle/>
          <a:p>
            <a:r>
              <a:rPr lang="de-DE" b="1" dirty="0" err="1">
                <a:solidFill>
                  <a:schemeClr val="bg1"/>
                </a:solidFill>
              </a:rPr>
              <a:t>What</a:t>
            </a:r>
            <a:r>
              <a:rPr lang="de-DE" b="1" dirty="0">
                <a:solidFill>
                  <a:schemeClr val="bg1"/>
                </a:solidFill>
              </a:rPr>
              <a:t>? </a:t>
            </a:r>
          </a:p>
          <a:p>
            <a:pPr lvl="1"/>
            <a:r>
              <a:rPr lang="de-DE" dirty="0">
                <a:solidFill>
                  <a:schemeClr val="bg1"/>
                </a:solidFill>
              </a:rPr>
              <a:t>Catalogue </a:t>
            </a:r>
            <a:r>
              <a:rPr lang="de-DE" dirty="0" err="1">
                <a:solidFill>
                  <a:schemeClr val="bg1"/>
                </a:solidFill>
              </a:rPr>
              <a:t>of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measures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for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the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implementation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of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the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Strategy</a:t>
            </a:r>
            <a:r>
              <a:rPr lang="de-DE" dirty="0">
                <a:solidFill>
                  <a:schemeClr val="bg1"/>
                </a:solidFill>
              </a:rPr>
              <a:t> Paper </a:t>
            </a:r>
            <a:r>
              <a:rPr lang="de-DE" dirty="0" err="1">
                <a:solidFill>
                  <a:schemeClr val="bg1"/>
                </a:solidFill>
              </a:rPr>
              <a:t>for</a:t>
            </a:r>
            <a:r>
              <a:rPr lang="de-DE" dirty="0">
                <a:solidFill>
                  <a:schemeClr val="bg1"/>
                </a:solidFill>
              </a:rPr>
              <a:t> South </a:t>
            </a:r>
            <a:r>
              <a:rPr lang="de-DE" dirty="0" err="1">
                <a:solidFill>
                  <a:schemeClr val="bg1"/>
                </a:solidFill>
              </a:rPr>
              <a:t>Tyrolean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Agriculture</a:t>
            </a:r>
            <a:r>
              <a:rPr lang="de-DE" dirty="0">
                <a:solidFill>
                  <a:schemeClr val="bg1"/>
                </a:solidFill>
              </a:rPr>
              <a:t> 2030+</a:t>
            </a:r>
          </a:p>
          <a:p>
            <a:pPr lvl="1"/>
            <a:r>
              <a:rPr lang="de-DE" dirty="0" err="1">
                <a:solidFill>
                  <a:schemeClr val="bg1"/>
                </a:solidFill>
              </a:rPr>
              <a:t>Ongoing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monitoring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process</a:t>
            </a:r>
            <a:endParaRPr lang="de-DE" dirty="0">
              <a:solidFill>
                <a:schemeClr val="bg1"/>
              </a:solidFill>
            </a:endParaRPr>
          </a:p>
          <a:p>
            <a:endParaRPr lang="de-DE" sz="1600" dirty="0">
              <a:solidFill>
                <a:schemeClr val="bg1"/>
              </a:solidFill>
            </a:endParaRPr>
          </a:p>
          <a:p>
            <a:r>
              <a:rPr lang="de-DE" b="1" dirty="0">
                <a:solidFill>
                  <a:schemeClr val="bg1"/>
                </a:solidFill>
              </a:rPr>
              <a:t>Content:</a:t>
            </a:r>
          </a:p>
          <a:p>
            <a:pPr lvl="1"/>
            <a:r>
              <a:rPr lang="de-DE" dirty="0">
                <a:solidFill>
                  <a:schemeClr val="bg1"/>
                </a:solidFill>
              </a:rPr>
              <a:t> Projects </a:t>
            </a:r>
            <a:r>
              <a:rPr lang="de-DE" dirty="0" err="1">
                <a:solidFill>
                  <a:schemeClr val="bg1"/>
                </a:solidFill>
              </a:rPr>
              <a:t>of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the</a:t>
            </a:r>
            <a:r>
              <a:rPr lang="de-DE" dirty="0">
                <a:solidFill>
                  <a:schemeClr val="bg1"/>
                </a:solidFill>
              </a:rPr>
              <a:t> South </a:t>
            </a:r>
            <a:r>
              <a:rPr lang="de-DE" dirty="0" err="1">
                <a:solidFill>
                  <a:schemeClr val="bg1"/>
                </a:solidFill>
              </a:rPr>
              <a:t>Tyrolean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Farmers‘Union</a:t>
            </a:r>
            <a:r>
              <a:rPr lang="de-DE" dirty="0">
                <a:solidFill>
                  <a:schemeClr val="bg1"/>
                </a:solidFill>
              </a:rPr>
              <a:t>, </a:t>
            </a:r>
            <a:r>
              <a:rPr lang="de-DE" dirty="0" err="1">
                <a:solidFill>
                  <a:schemeClr val="bg1"/>
                </a:solidFill>
              </a:rPr>
              <a:t>the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sectors</a:t>
            </a:r>
            <a:r>
              <a:rPr lang="de-DE" dirty="0">
                <a:solidFill>
                  <a:schemeClr val="bg1"/>
                </a:solidFill>
              </a:rPr>
              <a:t>, </a:t>
            </a:r>
            <a:r>
              <a:rPr lang="de-DE" dirty="0" err="1">
                <a:solidFill>
                  <a:schemeClr val="bg1"/>
                </a:solidFill>
              </a:rPr>
              <a:t>the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public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administration</a:t>
            </a:r>
            <a:r>
              <a:rPr lang="de-DE" dirty="0">
                <a:solidFill>
                  <a:schemeClr val="bg1"/>
                </a:solidFill>
              </a:rPr>
              <a:t> and </a:t>
            </a:r>
            <a:r>
              <a:rPr lang="de-DE" dirty="0" err="1">
                <a:solidFill>
                  <a:schemeClr val="bg1"/>
                </a:solidFill>
              </a:rPr>
              <a:t>scientific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institutions</a:t>
            </a:r>
            <a:endParaRPr lang="de-DE" dirty="0">
              <a:solidFill>
                <a:schemeClr val="bg1"/>
              </a:solidFill>
            </a:endParaRPr>
          </a:p>
          <a:p>
            <a:endParaRPr lang="de-DE" sz="1600" dirty="0">
              <a:solidFill>
                <a:schemeClr val="bg1"/>
              </a:solidFill>
            </a:endParaRPr>
          </a:p>
          <a:p>
            <a:r>
              <a:rPr lang="de-DE" b="1" dirty="0" err="1">
                <a:solidFill>
                  <a:schemeClr val="bg1"/>
                </a:solidFill>
              </a:rPr>
              <a:t>Why</a:t>
            </a:r>
            <a:r>
              <a:rPr lang="de-DE" b="1" dirty="0">
                <a:solidFill>
                  <a:schemeClr val="bg1"/>
                </a:solidFill>
              </a:rPr>
              <a:t>?</a:t>
            </a:r>
          </a:p>
          <a:p>
            <a:pPr lvl="1"/>
            <a:r>
              <a:rPr lang="de-DE" dirty="0" err="1">
                <a:solidFill>
                  <a:schemeClr val="bg1"/>
                </a:solidFill>
              </a:rPr>
              <a:t>Overview</a:t>
            </a:r>
            <a:r>
              <a:rPr lang="de-DE" dirty="0">
                <a:solidFill>
                  <a:schemeClr val="bg1"/>
                </a:solidFill>
              </a:rPr>
              <a:t> and </a:t>
            </a:r>
            <a:r>
              <a:rPr lang="de-DE" dirty="0" err="1">
                <a:solidFill>
                  <a:schemeClr val="bg1"/>
                </a:solidFill>
              </a:rPr>
              <a:t>continuous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updating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of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the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projects</a:t>
            </a:r>
            <a:r>
              <a:rPr lang="de-DE" dirty="0">
                <a:solidFill>
                  <a:schemeClr val="bg1"/>
                </a:solidFill>
              </a:rPr>
              <a:t> </a:t>
            </a:r>
          </a:p>
          <a:p>
            <a:pPr lvl="1"/>
            <a:r>
              <a:rPr lang="de-DE" dirty="0" err="1">
                <a:solidFill>
                  <a:schemeClr val="bg1"/>
                </a:solidFill>
              </a:rPr>
              <a:t>Coordination</a:t>
            </a:r>
            <a:r>
              <a:rPr lang="de-DE" dirty="0">
                <a:solidFill>
                  <a:schemeClr val="bg1"/>
                </a:solidFill>
              </a:rPr>
              <a:t> and </a:t>
            </a:r>
            <a:r>
              <a:rPr lang="de-DE" dirty="0" err="1">
                <a:solidFill>
                  <a:schemeClr val="bg1"/>
                </a:solidFill>
              </a:rPr>
              <a:t>exchange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ensured</a:t>
            </a:r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54938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181400-23C8-4111-B567-C4898872C7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5644" y="540828"/>
            <a:ext cx="10400712" cy="1188720"/>
          </a:xfrm>
        </p:spPr>
        <p:txBody>
          <a:bodyPr>
            <a:normAutofit/>
          </a:bodyPr>
          <a:lstStyle/>
          <a:p>
            <a:r>
              <a:rPr lang="de-DE" sz="2800" cap="all" spc="200" dirty="0">
                <a:solidFill>
                  <a:schemeClr val="accent2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Fields </a:t>
            </a:r>
            <a:r>
              <a:rPr lang="de-DE" sz="2800" cap="all" spc="200" dirty="0" err="1">
                <a:solidFill>
                  <a:schemeClr val="accent2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of</a:t>
            </a:r>
            <a:r>
              <a:rPr lang="de-DE" sz="2800" cap="all" spc="200" dirty="0">
                <a:solidFill>
                  <a:schemeClr val="accent2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 </a:t>
            </a:r>
            <a:r>
              <a:rPr lang="de-DE" sz="2800" cap="all" spc="200" dirty="0" err="1">
                <a:solidFill>
                  <a:schemeClr val="accent2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action</a:t>
            </a:r>
            <a:endParaRPr lang="en-US" sz="2800" cap="all" spc="200" dirty="0">
              <a:solidFill>
                <a:schemeClr val="accent2">
                  <a:lumMod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5CCACBB-9031-43CC-BC8F-511E55483B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23046" y="2288453"/>
            <a:ext cx="4298763" cy="3890405"/>
          </a:xfrm>
          <a:ln>
            <a:solidFill>
              <a:schemeClr val="accent1">
                <a:lumMod val="50000"/>
              </a:schemeClr>
            </a:solidFill>
          </a:ln>
        </p:spPr>
        <p:txBody>
          <a:bodyPr>
            <a:normAutofit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de-DE" sz="1700" dirty="0">
                <a:solidFill>
                  <a:schemeClr val="bg1"/>
                </a:solidFill>
              </a:rPr>
              <a:t>Family </a:t>
            </a:r>
            <a:r>
              <a:rPr lang="de-DE" sz="1700" dirty="0" err="1">
                <a:solidFill>
                  <a:schemeClr val="bg1"/>
                </a:solidFill>
              </a:rPr>
              <a:t>business</a:t>
            </a:r>
            <a:r>
              <a:rPr lang="de-DE" sz="1700" dirty="0">
                <a:solidFill>
                  <a:schemeClr val="bg1"/>
                </a:solidFill>
              </a:rPr>
              <a:t> &amp; rural </a:t>
            </a:r>
            <a:r>
              <a:rPr lang="de-DE" sz="1700" dirty="0" err="1">
                <a:solidFill>
                  <a:schemeClr val="bg1"/>
                </a:solidFill>
              </a:rPr>
              <a:t>area</a:t>
            </a:r>
            <a:endParaRPr lang="de-DE" sz="17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de-DE" sz="1700" dirty="0">
                <a:solidFill>
                  <a:schemeClr val="bg1"/>
                </a:solidFill>
              </a:rPr>
              <a:t>Climate &amp; CO₂-</a:t>
            </a:r>
            <a:r>
              <a:rPr lang="de-DE" sz="1700" dirty="0" err="1">
                <a:solidFill>
                  <a:schemeClr val="bg1"/>
                </a:solidFill>
              </a:rPr>
              <a:t>Reduction</a:t>
            </a:r>
            <a:r>
              <a:rPr lang="de-DE" sz="1700" dirty="0">
                <a:solidFill>
                  <a:schemeClr val="bg1"/>
                </a:solidFill>
              </a:rPr>
              <a:t> 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de-DE" sz="1700" dirty="0" err="1">
                <a:solidFill>
                  <a:schemeClr val="bg1"/>
                </a:solidFill>
              </a:rPr>
              <a:t>Water</a:t>
            </a:r>
            <a:r>
              <a:rPr lang="de-DE" sz="1700" dirty="0">
                <a:solidFill>
                  <a:schemeClr val="bg1"/>
                </a:solidFill>
              </a:rPr>
              <a:t> &amp; </a:t>
            </a:r>
            <a:r>
              <a:rPr lang="de-DE" sz="1700" dirty="0" err="1">
                <a:solidFill>
                  <a:schemeClr val="bg1"/>
                </a:solidFill>
              </a:rPr>
              <a:t>Soil</a:t>
            </a:r>
            <a:endParaRPr lang="de-DE" sz="17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de-DE" sz="1700" dirty="0" err="1">
                <a:solidFill>
                  <a:schemeClr val="bg1"/>
                </a:solidFill>
              </a:rPr>
              <a:t>Biodiversity</a:t>
            </a:r>
            <a:r>
              <a:rPr lang="de-DE" sz="1700" dirty="0">
                <a:solidFill>
                  <a:schemeClr val="bg1"/>
                </a:solidFill>
              </a:rPr>
              <a:t> &amp; </a:t>
            </a:r>
            <a:r>
              <a:rPr lang="de-DE" sz="1700" dirty="0" err="1">
                <a:solidFill>
                  <a:schemeClr val="bg1"/>
                </a:solidFill>
              </a:rPr>
              <a:t>landscape</a:t>
            </a:r>
            <a:r>
              <a:rPr lang="de-DE" sz="1700" dirty="0">
                <a:solidFill>
                  <a:schemeClr val="bg1"/>
                </a:solidFill>
              </a:rPr>
              <a:t> 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de-DE" sz="1700" dirty="0">
                <a:solidFill>
                  <a:schemeClr val="bg1"/>
                </a:solidFill>
              </a:rPr>
              <a:t>Health &amp; </a:t>
            </a:r>
            <a:r>
              <a:rPr lang="de-DE" sz="1700" dirty="0" err="1">
                <a:solidFill>
                  <a:schemeClr val="bg1"/>
                </a:solidFill>
              </a:rPr>
              <a:t>Happiness</a:t>
            </a:r>
            <a:r>
              <a:rPr lang="de-DE" sz="1700" dirty="0">
                <a:solidFill>
                  <a:schemeClr val="bg1"/>
                </a:solidFill>
              </a:rPr>
              <a:t> 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de-DE" sz="1700" dirty="0">
                <a:solidFill>
                  <a:schemeClr val="bg1"/>
                </a:solidFill>
              </a:rPr>
              <a:t>Society &amp; </a:t>
            </a:r>
            <a:r>
              <a:rPr lang="de-DE" sz="1700" dirty="0" err="1">
                <a:solidFill>
                  <a:schemeClr val="bg1"/>
                </a:solidFill>
              </a:rPr>
              <a:t>Dialogue</a:t>
            </a:r>
            <a:r>
              <a:rPr lang="de-DE" sz="1700" dirty="0">
                <a:solidFill>
                  <a:schemeClr val="bg1"/>
                </a:solidFill>
              </a:rPr>
              <a:t> 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de-DE" sz="1700" dirty="0">
                <a:solidFill>
                  <a:schemeClr val="bg1"/>
                </a:solidFill>
              </a:rPr>
              <a:t>Monitoring &amp; </a:t>
            </a:r>
            <a:r>
              <a:rPr lang="de-DE" sz="1700" dirty="0" err="1">
                <a:solidFill>
                  <a:schemeClr val="bg1"/>
                </a:solidFill>
              </a:rPr>
              <a:t>Digitalisation</a:t>
            </a:r>
            <a:endParaRPr lang="de-DE" sz="17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90000"/>
              </a:lnSpc>
              <a:buFont typeface="+mj-lt"/>
              <a:buAutoNum type="arabicPeriod"/>
            </a:pPr>
            <a:endParaRPr lang="de-DE" sz="2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12977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Text, Karte Menü, Screenshot, Schrift enthält.&#10;&#10;Automatisch generierte Beschreibung">
            <a:extLst>
              <a:ext uri="{FF2B5EF4-FFF2-40B4-BE49-F238E27FC236}">
                <a16:creationId xmlns:a16="http://schemas.microsoft.com/office/drawing/2014/main" id="{7AB24C96-C7F5-EE71-D436-4A3A1B9850C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730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70393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66831EE8-937A-AE7F-6DB6-426AED884D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66850"/>
            <a:ext cx="12192000" cy="4307305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886228A1-F416-AF63-4364-E474DF5A75AF}"/>
              </a:ext>
            </a:extLst>
          </p:cNvPr>
          <p:cNvSpPr txBox="1"/>
          <p:nvPr/>
        </p:nvSpPr>
        <p:spPr>
          <a:xfrm>
            <a:off x="409574" y="1466850"/>
            <a:ext cx="6477001" cy="64633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accent2">
                    <a:lumMod val="75000"/>
                  </a:schemeClr>
                </a:solidFill>
              </a:rPr>
              <a:t>Workflow</a:t>
            </a:r>
          </a:p>
          <a:p>
            <a:r>
              <a:rPr lang="de-DE" dirty="0" err="1">
                <a:solidFill>
                  <a:schemeClr val="accent2">
                    <a:lumMod val="75000"/>
                  </a:schemeClr>
                </a:solidFill>
              </a:rPr>
              <a:t>Agriculture</a:t>
            </a:r>
            <a:r>
              <a:rPr lang="de-DE" dirty="0">
                <a:solidFill>
                  <a:schemeClr val="accent2">
                    <a:lumMod val="75000"/>
                  </a:schemeClr>
                </a:solidFill>
              </a:rPr>
              <a:t> 2030: 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South Tyrol‘s path to sustainability</a:t>
            </a:r>
            <a:endParaRPr lang="de-DE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060AB596-F5F7-5E77-CD5E-A520B706CA69}"/>
              </a:ext>
            </a:extLst>
          </p:cNvPr>
          <p:cNvSpPr txBox="1"/>
          <p:nvPr/>
        </p:nvSpPr>
        <p:spPr>
          <a:xfrm>
            <a:off x="1047750" y="5199130"/>
            <a:ext cx="1171575" cy="276999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Large group</a:t>
            </a:r>
            <a:endParaRPr lang="de-DE" sz="1200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9B2588F6-4A25-0BBD-8156-D75B215ED3FF}"/>
              </a:ext>
            </a:extLst>
          </p:cNvPr>
          <p:cNvSpPr txBox="1"/>
          <p:nvPr/>
        </p:nvSpPr>
        <p:spPr>
          <a:xfrm>
            <a:off x="2462212" y="5199130"/>
            <a:ext cx="1871663" cy="46166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Communication group</a:t>
            </a:r>
          </a:p>
          <a:p>
            <a:pPr algn="ctr"/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30.06.2022 </a:t>
            </a:r>
            <a:endParaRPr lang="de-DE" sz="1200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54711081-69A6-3404-311C-6B08E2C76D2A}"/>
              </a:ext>
            </a:extLst>
          </p:cNvPr>
          <p:cNvSpPr txBox="1"/>
          <p:nvPr/>
        </p:nvSpPr>
        <p:spPr>
          <a:xfrm>
            <a:off x="4257675" y="5024978"/>
            <a:ext cx="1704975" cy="64633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Action group </a:t>
            </a:r>
          </a:p>
          <a:p>
            <a:pPr algn="ctr"/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25.07.2022</a:t>
            </a:r>
          </a:p>
          <a:p>
            <a:pPr algn="ctr"/>
            <a:endParaRPr lang="en-US" sz="12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A07FE0D7-80E7-5F62-91F2-5129F2BBB90E}"/>
              </a:ext>
            </a:extLst>
          </p:cNvPr>
          <p:cNvSpPr txBox="1"/>
          <p:nvPr/>
        </p:nvSpPr>
        <p:spPr>
          <a:xfrm>
            <a:off x="3786187" y="5450001"/>
            <a:ext cx="3171825" cy="276999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Lighthouse projects &amp; strategies of the sectors </a:t>
            </a:r>
            <a:endParaRPr lang="de-DE" sz="1200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B0424C54-C73E-AFB1-7561-5715F23305BB}"/>
              </a:ext>
            </a:extLst>
          </p:cNvPr>
          <p:cNvSpPr txBox="1"/>
          <p:nvPr/>
        </p:nvSpPr>
        <p:spPr>
          <a:xfrm>
            <a:off x="3238499" y="2133219"/>
            <a:ext cx="1871663" cy="46166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Communication group</a:t>
            </a:r>
          </a:p>
          <a:p>
            <a:pPr algn="ctr"/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08.07.2022 </a:t>
            </a:r>
            <a:endParaRPr lang="de-DE" sz="1200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F1F9C780-9C33-E765-5915-5ED03CA59885}"/>
              </a:ext>
            </a:extLst>
          </p:cNvPr>
          <p:cNvSpPr txBox="1"/>
          <p:nvPr/>
        </p:nvSpPr>
        <p:spPr>
          <a:xfrm>
            <a:off x="1490662" y="2142744"/>
            <a:ext cx="1604962" cy="64633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Action group </a:t>
            </a:r>
          </a:p>
          <a:p>
            <a:pPr algn="ctr"/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19.05.2022     </a:t>
            </a:r>
          </a:p>
          <a:p>
            <a:pPr algn="ctr"/>
            <a:endParaRPr lang="en-US" sz="12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64AC430A-57C7-70DA-DD23-DF97787D9601}"/>
              </a:ext>
            </a:extLst>
          </p:cNvPr>
          <p:cNvSpPr txBox="1"/>
          <p:nvPr/>
        </p:nvSpPr>
        <p:spPr>
          <a:xfrm>
            <a:off x="6334123" y="2307371"/>
            <a:ext cx="1871663" cy="46166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Communication group</a:t>
            </a:r>
          </a:p>
          <a:p>
            <a:pPr algn="ctr"/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24.08.2022 </a:t>
            </a:r>
            <a:endParaRPr lang="de-DE" sz="120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A67ECE7A-700D-CC6F-8C87-61F11D7A44DC}"/>
              </a:ext>
            </a:extLst>
          </p:cNvPr>
          <p:cNvSpPr txBox="1"/>
          <p:nvPr/>
        </p:nvSpPr>
        <p:spPr>
          <a:xfrm>
            <a:off x="7505700" y="5189604"/>
            <a:ext cx="1871663" cy="46166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Communication group</a:t>
            </a:r>
          </a:p>
          <a:p>
            <a:pPr algn="ctr"/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16.09.2022 </a:t>
            </a:r>
            <a:endParaRPr lang="de-DE" sz="1200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162C7312-EAE8-3B8A-5FFE-CC07F2378267}"/>
              </a:ext>
            </a:extLst>
          </p:cNvPr>
          <p:cNvSpPr txBox="1"/>
          <p:nvPr/>
        </p:nvSpPr>
        <p:spPr>
          <a:xfrm>
            <a:off x="8348661" y="2040885"/>
            <a:ext cx="1871664" cy="64633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Action group </a:t>
            </a:r>
          </a:p>
          <a:p>
            <a:pPr algn="ctr"/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20.10.2022    </a:t>
            </a:r>
          </a:p>
          <a:p>
            <a:pPr algn="ctr"/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The scientific institutions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4B2C8B08-9155-8FB2-C8F1-CEF3CA69BD70}"/>
              </a:ext>
            </a:extLst>
          </p:cNvPr>
          <p:cNvSpPr txBox="1"/>
          <p:nvPr/>
        </p:nvSpPr>
        <p:spPr>
          <a:xfrm>
            <a:off x="9196385" y="4942169"/>
            <a:ext cx="2328864" cy="64633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Action group </a:t>
            </a:r>
          </a:p>
          <a:p>
            <a:pPr algn="ctr"/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24.11.2022    </a:t>
            </a:r>
          </a:p>
          <a:p>
            <a:pPr algn="ctr"/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Climate plan South Tyrol 2040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6BCFF95C-0D9C-ADBE-42DE-2F1E0596FEF0}"/>
              </a:ext>
            </a:extLst>
          </p:cNvPr>
          <p:cNvSpPr txBox="1"/>
          <p:nvPr/>
        </p:nvSpPr>
        <p:spPr>
          <a:xfrm>
            <a:off x="10320337" y="2225551"/>
            <a:ext cx="1871663" cy="46166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Communication group</a:t>
            </a:r>
          </a:p>
          <a:p>
            <a:pPr algn="ctr"/>
            <a:r>
              <a:rPr lang="en-US" sz="1200" dirty="0">
                <a:solidFill>
                  <a:schemeClr val="accent2">
                    <a:lumMod val="75000"/>
                  </a:schemeClr>
                </a:solidFill>
              </a:rPr>
              <a:t>09.12.2022 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23085473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4BEF3F1-2817-4593-8575-BCF2AAB42C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5366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0145AB99-2E48-8627-5869-A16F92293AC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4860" b="9857"/>
          <a:stretch/>
        </p:blipFill>
        <p:spPr>
          <a:xfrm>
            <a:off x="970788" y="969264"/>
            <a:ext cx="10250424" cy="491947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1FF9A2C9-7772-4A25-A286-C89751B17D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06196" y="804672"/>
            <a:ext cx="10579608" cy="5248656"/>
          </a:xfrm>
          <a:prstGeom prst="rect">
            <a:avLst/>
          </a:prstGeom>
          <a:noFill/>
          <a:ln w="25400" cap="sq">
            <a:solidFill>
              <a:srgbClr val="FFFFF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8465AE98-F532-CAF6-36ED-04905B514FB5}"/>
              </a:ext>
            </a:extLst>
          </p:cNvPr>
          <p:cNvSpPr txBox="1"/>
          <p:nvPr/>
        </p:nvSpPr>
        <p:spPr>
          <a:xfrm>
            <a:off x="2468880" y="2377440"/>
            <a:ext cx="435254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000" b="1" dirty="0" err="1"/>
              <a:t>Thank</a:t>
            </a:r>
            <a:r>
              <a:rPr lang="de-DE" sz="4000" b="1" dirty="0"/>
              <a:t> </a:t>
            </a:r>
            <a:r>
              <a:rPr lang="de-DE" sz="4000" b="1" dirty="0" err="1"/>
              <a:t>you</a:t>
            </a:r>
            <a:r>
              <a:rPr lang="de-DE" sz="4000" b="1" dirty="0"/>
              <a:t> </a:t>
            </a:r>
            <a:r>
              <a:rPr lang="de-DE" sz="4000" b="1" dirty="0" err="1"/>
              <a:t>for</a:t>
            </a:r>
            <a:r>
              <a:rPr lang="de-DE" sz="4000" b="1" dirty="0"/>
              <a:t> </a:t>
            </a:r>
            <a:r>
              <a:rPr lang="de-DE" sz="4000" b="1" dirty="0" err="1"/>
              <a:t>your</a:t>
            </a:r>
            <a:r>
              <a:rPr lang="de-DE" sz="4000" b="1" dirty="0"/>
              <a:t> </a:t>
            </a:r>
            <a:r>
              <a:rPr lang="de-DE" sz="4000" b="1" dirty="0" err="1"/>
              <a:t>attention</a:t>
            </a:r>
            <a:r>
              <a:rPr lang="de-DE" sz="4000" b="1" dirty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24144665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aket">
  <a:themeElements>
    <a:clrScheme name="Benutzerdefiniert 4">
      <a:dk1>
        <a:sysClr val="windowText" lastClr="000000"/>
      </a:dk1>
      <a:lt1>
        <a:sysClr val="window" lastClr="FFFFFF"/>
      </a:lt1>
      <a:dk2>
        <a:srgbClr val="EAF4D7"/>
      </a:dk2>
      <a:lt2>
        <a:srgbClr val="E2DFCC"/>
      </a:lt2>
      <a:accent1>
        <a:srgbClr val="99CB38"/>
      </a:accent1>
      <a:accent2>
        <a:srgbClr val="739A28"/>
      </a:accent2>
      <a:accent3>
        <a:srgbClr val="37A76F"/>
      </a:accent3>
      <a:accent4>
        <a:srgbClr val="44C1A3"/>
      </a:accent4>
      <a:accent5>
        <a:srgbClr val="4EB3CF"/>
      </a:accent5>
      <a:accent6>
        <a:srgbClr val="51C3F9"/>
      </a:accent6>
      <a:hlink>
        <a:srgbClr val="EE7B08"/>
      </a:hlink>
      <a:folHlink>
        <a:srgbClr val="977B2D"/>
      </a:folHlink>
    </a:clrScheme>
    <a:fontScheme name="Paket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Paket">
      <a: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107000"/>
                <a:lumMod val="103000"/>
              </a:schemeClr>
            </a:gs>
            <a:gs pos="100000">
              <a:schemeClr val="phClr">
                <a:tint val="82000"/>
                <a:satMod val="109000"/>
                <a:lumMod val="103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3000"/>
                <a:lumMod val="100000"/>
              </a:schemeClr>
            </a:gs>
            <a:gs pos="100000">
              <a:schemeClr val="phClr">
                <a:shade val="93000"/>
                <a:satMod val="11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5880" dist="1524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l"/>
          </a:scene3d>
          <a:sp3d prstMaterial="dkEdge">
            <a:bevelT w="0" h="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7000"/>
                <a:shade val="100000"/>
                <a:satMod val="185000"/>
                <a:lumMod val="120000"/>
              </a:schemeClr>
            </a:gs>
            <a:gs pos="100000">
              <a:schemeClr val="phClr">
                <a:tint val="96000"/>
                <a:shade val="95000"/>
                <a:satMod val="215000"/>
                <a:lumMod val="80000"/>
              </a:schemeClr>
            </a:gs>
          </a:gsLst>
          <a:path path="circle">
            <a:fillToRect l="50000" t="55000" r="125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arcel" id="{8BEC4385-4EB9-4D53-BFB5-0EA123736B6D}" vid="{0BDC4BB7-8AF9-46FD-8C32-AB93AC9C4100}"/>
    </a:ext>
  </a:extLst>
</a:theme>
</file>

<file path=ppt/theme/theme2.xml><?xml version="1.0" encoding="utf-8"?>
<a:theme xmlns:a="http://schemas.openxmlformats.org/drawingml/2006/main" name="15_Office Theme">
  <a:themeElements>
    <a:clrScheme name="Südtiroler Apfel">
      <a:dk1>
        <a:srgbClr val="758592"/>
      </a:dk1>
      <a:lt1>
        <a:srgbClr val="FFFFFF"/>
      </a:lt1>
      <a:dk2>
        <a:srgbClr val="50742F"/>
      </a:dk2>
      <a:lt2>
        <a:srgbClr val="A9BF00"/>
      </a:lt2>
      <a:accent1>
        <a:srgbClr val="A9CDE9"/>
      </a:accent1>
      <a:accent2>
        <a:srgbClr val="F3D100"/>
      </a:accent2>
      <a:accent3>
        <a:srgbClr val="DE7000"/>
      </a:accent3>
      <a:accent4>
        <a:srgbClr val="B31938"/>
      </a:accent4>
      <a:accent5>
        <a:srgbClr val="6F273F"/>
      </a:accent5>
      <a:accent6>
        <a:srgbClr val="9EB4BB"/>
      </a:accent6>
      <a:hlink>
        <a:srgbClr val="50742F"/>
      </a:hlink>
      <a:folHlink>
        <a:srgbClr val="A9BF0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IDM_Hellgrün">
  <a:themeElements>
    <a:clrScheme name="IDM_Farben_2021">
      <a:dk1>
        <a:srgbClr val="4A4A49"/>
      </a:dk1>
      <a:lt1>
        <a:sysClr val="window" lastClr="FFFFFF"/>
      </a:lt1>
      <a:dk2>
        <a:srgbClr val="6F273F"/>
      </a:dk2>
      <a:lt2>
        <a:srgbClr val="F4D100"/>
      </a:lt2>
      <a:accent1>
        <a:srgbClr val="A9BF00"/>
      </a:accent1>
      <a:accent2>
        <a:srgbClr val="758592"/>
      </a:accent2>
      <a:accent3>
        <a:srgbClr val="A9CDE9"/>
      </a:accent3>
      <a:accent4>
        <a:srgbClr val="50742F"/>
      </a:accent4>
      <a:accent5>
        <a:srgbClr val="DE7000"/>
      </a:accent5>
      <a:accent6>
        <a:srgbClr val="B31939"/>
      </a:accent6>
      <a:hlink>
        <a:srgbClr val="4A4A49"/>
      </a:hlink>
      <a:folHlink>
        <a:srgbClr val="4A4A49"/>
      </a:folHlink>
    </a:clrScheme>
    <a:fontScheme name="IDM_S_Schriften">
      <a:majorFont>
        <a:latin typeface="Source Sans Pro SemiBold"/>
        <a:ea typeface=""/>
        <a:cs typeface=""/>
      </a:majorFont>
      <a:minorFont>
        <a:latin typeface="Source Sans Pr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lnSpc>
            <a:spcPts val="2250"/>
          </a:lnSpc>
          <a:defRPr sz="1600" kern="600" baseline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ts val="2250"/>
          </a:lnSpc>
          <a:defRPr sz="1600" kern="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_IDM_Powerpoint_Mastertemplate_DE.potx" id="{38B911C8-A119-4A40-9AF7-D60F9E4553B9}" vid="{5961B3A9-AF72-4850-AF40-340071CFC6BA}"/>
    </a:ext>
  </a:extLst>
</a:theme>
</file>

<file path=ppt/theme/theme4.xml><?xml version="1.0" encoding="utf-8"?>
<a:theme xmlns:a="http://schemas.openxmlformats.org/drawingml/2006/main" name="1_IDM_Hellgrün">
  <a:themeElements>
    <a:clrScheme name="IDM_Farben_2021">
      <a:dk1>
        <a:srgbClr val="4A4A49"/>
      </a:dk1>
      <a:lt1>
        <a:sysClr val="window" lastClr="FFFFFF"/>
      </a:lt1>
      <a:dk2>
        <a:srgbClr val="6F273F"/>
      </a:dk2>
      <a:lt2>
        <a:srgbClr val="F4D100"/>
      </a:lt2>
      <a:accent1>
        <a:srgbClr val="A9BF00"/>
      </a:accent1>
      <a:accent2>
        <a:srgbClr val="758592"/>
      </a:accent2>
      <a:accent3>
        <a:srgbClr val="A9CDE9"/>
      </a:accent3>
      <a:accent4>
        <a:srgbClr val="50742F"/>
      </a:accent4>
      <a:accent5>
        <a:srgbClr val="DE7000"/>
      </a:accent5>
      <a:accent6>
        <a:srgbClr val="B31939"/>
      </a:accent6>
      <a:hlink>
        <a:srgbClr val="4A4A49"/>
      </a:hlink>
      <a:folHlink>
        <a:srgbClr val="4A4A49"/>
      </a:folHlink>
    </a:clrScheme>
    <a:fontScheme name="IDM_S_Schriften">
      <a:majorFont>
        <a:latin typeface="Source Sans Pro SemiBold"/>
        <a:ea typeface=""/>
        <a:cs typeface=""/>
      </a:majorFont>
      <a:minorFont>
        <a:latin typeface="Source Sans Pr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lnSpc>
            <a:spcPts val="2250"/>
          </a:lnSpc>
          <a:defRPr sz="1600" kern="600" baseline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ts val="2250"/>
          </a:lnSpc>
          <a:defRPr sz="1600" kern="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_IDM_Powerpoint_Mastertemplate_DE.potx" id="{38B911C8-A119-4A40-9AF7-D60F9E4553B9}" vid="{5961B3A9-AF72-4850-AF40-340071CFC6BA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11</Words>
  <Application>Microsoft Office PowerPoint</Application>
  <PresentationFormat>Breitbild</PresentationFormat>
  <Paragraphs>56</Paragraphs>
  <Slides>7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0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22" baseType="lpstr">
      <vt:lpstr>Arial</vt:lpstr>
      <vt:lpstr>Calibri</vt:lpstr>
      <vt:lpstr>Gill Sans MT</vt:lpstr>
      <vt:lpstr>Open Sans Light</vt:lpstr>
      <vt:lpstr>Source Sans Pro Light</vt:lpstr>
      <vt:lpstr>Source Sans Pro Semibold</vt:lpstr>
      <vt:lpstr>Source Sans Pro Semibold</vt:lpstr>
      <vt:lpstr>Suedtirol Next</vt:lpstr>
      <vt:lpstr>Suedtirol Next TT</vt:lpstr>
      <vt:lpstr>Suedtirol Pro</vt:lpstr>
      <vt:lpstr>Paket</vt:lpstr>
      <vt:lpstr>15_Office Theme</vt:lpstr>
      <vt:lpstr>IDM_Hellgrün</vt:lpstr>
      <vt:lpstr>1_IDM_Hellgrün</vt:lpstr>
      <vt:lpstr>think-cell Folie</vt:lpstr>
      <vt:lpstr>PowerPoint-Präsentation</vt:lpstr>
      <vt:lpstr>agriculture 2030: south tyrol‘s path to sustainability</vt:lpstr>
      <vt:lpstr>Action plan agriculture 2030</vt:lpstr>
      <vt:lpstr>Fields of ac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Prinoth, Noemi</dc:creator>
  <cp:lastModifiedBy>Moeltner, Peter</cp:lastModifiedBy>
  <cp:revision>22</cp:revision>
  <cp:lastPrinted>2022-09-06T14:14:21Z</cp:lastPrinted>
  <dcterms:created xsi:type="dcterms:W3CDTF">2022-05-18T08:32:59Z</dcterms:created>
  <dcterms:modified xsi:type="dcterms:W3CDTF">2023-05-11T13:50:23Z</dcterms:modified>
</cp:coreProperties>
</file>